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ink/ink1.xml" ContentType="application/inkml+xml"/>
  <Override PartName="/ppt/notesSlides/notesSlide1.xml" ContentType="application/vnd.openxmlformats-officedocument.presentationml.notesSlide+xml"/>
  <Override PartName="/ppt/ink/ink2.xml" ContentType="application/inkml+xml"/>
  <Override PartName="/ppt/ink/ink3.xml" ContentType="application/inkml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0"/>
  </p:notesMasterIdLst>
  <p:sldIdLst>
    <p:sldId id="278" r:id="rId5"/>
    <p:sldId id="256" r:id="rId6"/>
    <p:sldId id="269" r:id="rId7"/>
    <p:sldId id="259" r:id="rId8"/>
    <p:sldId id="261" r:id="rId9"/>
    <p:sldId id="260" r:id="rId10"/>
    <p:sldId id="263" r:id="rId11"/>
    <p:sldId id="262" r:id="rId12"/>
    <p:sldId id="280" r:id="rId13"/>
    <p:sldId id="264" r:id="rId14"/>
    <p:sldId id="276" r:id="rId15"/>
    <p:sldId id="268" r:id="rId16"/>
    <p:sldId id="277" r:id="rId17"/>
    <p:sldId id="273" r:id="rId18"/>
    <p:sldId id="282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340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5C7"/>
    <a:srgbClr val="0070C0"/>
    <a:srgbClr val="C25115"/>
    <a:srgbClr val="1F5C97"/>
    <a:srgbClr val="FE6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7DB8B88-AD03-9B5D-310B-010391869CF4}" v="126" dt="2024-11-19T12:09:30.775"/>
    <p1510:client id="{5E23275A-0326-A77C-A23C-554C721AECA3}" v="1202" dt="2024-11-19T12:04:27.643"/>
    <p1510:client id="{70A3BF33-D265-4391-9D5D-B791CCED4EC0}" v="636" dt="2024-11-18T19:49:21.832"/>
    <p1510:client id="{963A406E-9E2B-B31D-5C06-04057BB87297}" v="507" dt="2024-11-19T11:55:13.671"/>
    <p1510:client id="{CEDAC942-8D7C-72AF-4706-962E32C41159}" v="667" dt="2024-11-18T13:31:20.155"/>
    <p1510:client id="{E29FF2AC-CA8F-EA87-45E7-E5AE5725CA13}" v="199" dt="2024-11-19T00:14:38.504"/>
    <p1510:client id="{E6D5D2A7-7A57-5E48-9ECC-298FCC9736BE}" v="888" dt="2024-11-19T12:43:11.98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3" autoAdjust="0"/>
    <p:restoredTop sz="94694"/>
  </p:normalViewPr>
  <p:slideViewPr>
    <p:cSldViewPr snapToGrid="0">
      <p:cViewPr varScale="1">
        <p:scale>
          <a:sx n="83" d="100"/>
          <a:sy n="83" d="100"/>
        </p:scale>
        <p:origin x="58" y="96"/>
      </p:cViewPr>
      <p:guideLst>
        <p:guide orient="horz" pos="2205"/>
        <p:guide pos="340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18T13:31:35.56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5494 13519 16383 0 0,'0'-1'0'0'0,"0"-7"0"0"0,0-8 0 0 0,0-4 0 0 0,0-5 0 0 0,0-5 0 0 0,0-5 0 0 0,0-5 0 0 0,0-5 0 0 0,0-2 0 0 0,0-3 0 0 0,0-1 0 0 0,0-1 0 0 0,0-5 0 0 0,0-3 0 0 0,0-2 0 0 0,0 1 0 0 0,0-1 0 0 0,0 1 0 0 0,0 3 0 0 0,0 3 0 0 0,0-1 0 0 0,2 0 0 0 0,3 2 0 0 0,3 0 0 0 0,1 5 0 0 0,2 1 0 0 0,1 4 0 0 0,1 2 0 0 0,-1 1 0 0 0,1 1 0 0 0,1 2 0 0 0,3-2 0 0 0,2 0 0 0 0,5 1 0 0 0,4 0 0 0 0,3 3 0 0 0,4 2 0 0 0,1-1 0 0 0,1 2 0 0 0,3 0 0 0 0,3 1 0 0 0,1 2 0 0 0,1 2 0 0 0,1 4 0 0 0,2 1 0 0 0,1 3 0 0 0,1 2 0 0 0,0 4 0 0 0,-3 3 0 0 0,0 4 0 0 0,-2 2 0 0 0,-4 2 0 0 0,-2 2 0 0 0,-2 1 0 0 0,-2 0 0 0 0,-3 1 0 0 0,-1-1 0 0 0,-2 1 0 0 0,0-1 0 0 0,-2 2 0 0 0,-2 2 0 0 0,-3 5 0 0 0,-1 1 0 0 0,-4 4 0 0 0,0 2 0 0 0,-2 1 0 0 0,-1 0 0 0 0,-2 1 0 0 0,-2 0 0 0 0,-4-1 0 0 0,-2 0 0 0 0,-2-1 0 0 0,-1-1 0 0 0,-1 1 0 0 0,-1 1 0 0 0,1 1 0 0 0,-1 1 0 0 0,-3 1 0 0 0,-5 3 0 0 0,-5 1 0 0 0,-6 3 0 0 0,-3 1 0 0 0,-4-2 0 0 0,-1-2 0 0 0,-1-4 0 0 0,0-3 0 0 0,0-3 0 0 0,0-2 0 0 0,0 0 0 0 0,-1-2 0 0 0,1 1 0 0 0,-1-1 0 0 0,0 1 0 0 0,-2-2 0 0 0,-1-1 0 0 0,1-1 0 0 0,1-2 0 0 0,1-2 0 0 0,3-1 0 0 0,2-2 0 0 0,2 0 0 0 0,1 0 0 0 0,1 0 0 0 0,2-2 0 0 0,1-3 0 0 0,-1-3 0 0 0,3-5 0 0 0,0-3 0 0 0,3-2 0 0 0,0-5 0 0 0,1-1 0 0 0,3-4 0 0 0,1-1 0 0 0,-1-1 0 0 0,3-3 0 0 0,1-2 0 0 0,1-3 0 0 0,2-5 0 0 0,2-2 0 0 0,0-3 0 0 0,0-5 0 0 0,0-2 0 0 0,1-3 0 0 0,-1 0 0 0 0,0-2 0 0 0,0 1 0 0 0,0-1 0 0 0,0-3 0 0 0,0-1 0 0 0,3-2 0 0 0,2-1 0 0 0,3 0 0 0 0,5-1 0 0 0,3-1 0 0 0,2 1 0 0 0,4-1 0 0 0,2 1 0 0 0,2 0 0 0 0,1 0 0 0 0,0 0 0 0 0,3 0 0 0 0,1 3 0 0 0,1 1 0 0 0,0 3 0 0 0,2 2 0 0 0,-2 6 0 0 0,1 2 0 0 0,2 4 0 0 0,1 0 0 0 0,1 2 0 0 0,4-1 0 0 0,1 1 0 0 0,2 1 0 0 0,4 2 0 0 0,1 3 0 0 0,0 2 0 0 0,-1 3 0 0 0,-2 3 0 0 0,-3 5 0 0 0,-4 3 0 0 0,-1 4 0 0 0,-3 0 0 0 0,-2 3 0 0 0,-2 1 0 0 0,-2 0 0 0 0,-3 0 0 0 0,-2 2 0 0 0,-2 1 0 0 0,0 2 0 0 0,-1 1 0 0 0,-1 2 0 0 0,-1 1 0 0 0,-3 1 0 0 0,-3 2 0 0 0,-1 1 0 0 0,-2 1 0 0 0,0 1 0 0 0,-1 0 0 0 0,-3 0 0 0 0,-5 0 0 0 0,-3-1 0 0 0,-4-3 0 0 0,-2 0 0 0 0,-3-1 0 0 0,-4-2 0 0 0,0-2 0 0 0,-4 0 0 0 0,-3-1 0 0 0,-2-3 0 0 0,-4-1 0 0 0,-6 0 0 0 0,-5-3 0 0 0,-2 1 0 0 0,-3-2 0 0 0,-2 0 0 0 0,1 1 0 0 0,1 2 0 0 0,6 1 0 0 0,5 3 0 0 0,5 2 0 0 0,5 2 0 0 0,10 3 0 0 0,11 3 0 0 0,8 4 0 0 0,8 3 0 0 0,7 3 0 0 0,4 1 0 0 0,0 1 0 0 0,1 0 0 0 0,1-1 0 0 0,1-1 0 0 0,3 0 0 0 0,2 1 0 0 0,0 0 0 0 0,4 1 0 0 0,2 0 0 0 0,-1 0 0 0 0,-1 1 0 0 0,0 0 0 0 0,-3-1 0 0 0,-4 1 0 0 0,-4-1 0 0 0,-2-1 0 0 0,-3 1 0 0 0,-5-1 0 0 0,-3-2 0 0 0,-1 0 0 0 0,-4-1 0 0 0,-3 1 0 0 0,-2 0 0 0 0,-1 0 0 0 0,-2 1 0 0 0,-2 0 0 0 0,-3 3 0 0 0,-3 0 0 0 0,-5 2 0 0 0,-4 2 0 0 0,0 3 0 0 0,-1-2 0 0 0,1 2 0 0 0,-1-2 0 0 0,1 0 0 0 0,2 1 0 0 0,0 0 0 0 0,0 2 0 0 0,2 0 0 0 0,0 1 0 0 0,1 0 0 0 0,1 0 0 0 0,2 0 0 0 0,1-2 0 0 0,2 0 0 0 0,0-3 0 0 0,2 1 0 0 0,-1-2 0 0 0,1-2 0 0 0,0 0 0 0 0,1-3 0 0 0,-1 0 0 0 0,2 0 0 0 0,0-1 0 0 0,1-1 0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18T13:31:35.56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6277 5835 16383 0 0,'2'0'0'0'0,"0"0"0"0"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18T13:31:35.56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1742 12637 16383 0 0,'0'0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3A7255-2454-4BCB-971E-59280571CD8A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301F65-ADC4-4A7F-800D-B38C32B980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89914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arolina island is </a:t>
            </a:r>
            <a:r>
              <a:rPr lang="en-US" dirty="0" err="1"/>
              <a:t>infactalso</a:t>
            </a:r>
            <a:r>
              <a:rPr lang="en-US" dirty="0"/>
              <a:t> a coastal are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301F65-ADC4-4A7F-800D-B38C32B9801D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64655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301F65-ADC4-4A7F-800D-B38C32B9801D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4109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ot a lot of </a:t>
            </a:r>
            <a:r>
              <a:rPr lang="en-GB" dirty="0" err="1"/>
              <a:t>superhosts</a:t>
            </a:r>
            <a:r>
              <a:rPr lang="en-GB" dirty="0"/>
              <a:t> in some of the more popular central areas lik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301F65-ADC4-4A7F-800D-B38C32B9801D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51378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7E7802-0683-5D98-3327-E1CD7908CA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93C1EB-3953-04FE-072B-556EB15B07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BD04D5-956A-3161-6E68-120A58452A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1482C2-8694-451D-8970-1A36FBADC8A7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686EE2-1204-221B-1152-BCFD52D0D2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A03C70-0A50-0959-AF26-70E18EE59F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245259-FD46-4BAB-B2A5-88DAA810AA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75152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DC5603-4068-C02A-DB98-672A8A5BBA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0DA0EF9-0930-1901-B835-5A30BCB015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0B9164-0605-50CB-DB56-419FE465B3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1482C2-8694-451D-8970-1A36FBADC8A7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E7085D-203A-66A8-EB4E-DF2A7D1168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5302EC-1EC3-D140-511B-53694F13B9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245259-FD46-4BAB-B2A5-88DAA810AA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17541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7F1C7A3-1497-5E4A-3651-3295B0DB13E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715CC4C-7DFE-2D45-B6F0-6B2A604D90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6E8C3F-6964-AEBF-37FB-F66BECB095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1482C2-8694-451D-8970-1A36FBADC8A7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045322-2EED-E24E-B23F-38FBC9D834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3168BC-A336-253F-D9F7-04051E31B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245259-FD46-4BAB-B2A5-88DAA810AA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79054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E33CFC-C609-27CE-E8A7-32123D8DE7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554FBD-172C-5999-F011-6E59DF6D23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D8B45A-3282-AF54-C970-73000DBAF7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1482C2-8694-451D-8970-1A36FBADC8A7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9C5E13-A861-35DB-D571-38978E711B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DA73F8-8C04-A70A-BCA8-25A67A8F09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245259-FD46-4BAB-B2A5-88DAA810AA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25024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2AC0FB-CF3B-F60A-F00D-6E89B47F0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23C1FB-ED2D-187C-21F0-C06C042598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4FABA6-98D6-8C9F-DFC4-6B734229BD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1482C2-8694-451D-8970-1A36FBADC8A7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E8A7C6-61DD-11BA-0EE9-CA8256CDEE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DEACA4-391B-A444-0D06-3BA2A5F50B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245259-FD46-4BAB-B2A5-88DAA810AA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3764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B39A89-D270-E15F-EE70-86954920C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2172E2-4F36-47D0-F115-5781138239F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C7FD551-5DE8-AB6B-E900-3B40EB2E5C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746AC0B-A0E3-0AC0-4815-A49BB5B425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1482C2-8694-451D-8970-1A36FBADC8A7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0C1DE53-3048-0609-CE6E-AAB51A331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BB7903-36F5-9201-345C-41EFD5B13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245259-FD46-4BAB-B2A5-88DAA810AA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34464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43BFE4-7085-EB8A-C937-03083BF92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C46B54-CAE1-2BC6-F1F1-7F108DC9F9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223603-EFB3-6373-A5DD-BB8255CBBC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6FA3EF-6372-1792-AB27-983666FC2CA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242731F-E154-257F-E428-43C98A64C06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FE6AE7B-5280-66CF-F71C-C525F9E6EA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1482C2-8694-451D-8970-1A36FBADC8A7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6AC1FAE-12AA-6318-7458-93B81F6889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38FF6EC-FFCF-0F60-9990-5D6077C96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245259-FD46-4BAB-B2A5-88DAA810AA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28818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7FEAE1-BF0B-F761-06DB-535C95E058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761C4F-00D6-0B19-D119-22A57BEB4E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1482C2-8694-451D-8970-1A36FBADC8A7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1E3C82-AB20-978B-9D35-65F6BB817D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F69AA8-596B-E918-341B-B712D1D88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245259-FD46-4BAB-B2A5-88DAA810AA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67682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892937C-4D41-B5E8-6596-5B82EC139F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1482C2-8694-451D-8970-1A36FBADC8A7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8B9283-BC97-B70E-E363-129E0CC149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26ED24-B6C1-7BA2-E258-C88CE1A17B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245259-FD46-4BAB-B2A5-88DAA810AA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88190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65CA64-F771-7AEB-D7F0-7129D40376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39322C-9772-FE74-BCBF-B968F67820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F62EC5-A7E6-D5BF-D0AF-35D94A8CDBD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85F8DBB-A36F-D9A1-3E3A-96BD4C4F29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1482C2-8694-451D-8970-1A36FBADC8A7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8032CF-E45A-4908-0CDC-0C8704B526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B29E86-BCF6-99B1-AF9B-22E669C82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245259-FD46-4BAB-B2A5-88DAA810AA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16569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D3A070-5822-4814-C6A0-3CC2CB01C7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F3C3913-3E9A-EA7B-D77B-811BBC71D1C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2BDDB2-3237-CB25-2239-E04F2445BE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9E4C52-4E34-2060-A3CD-AFBB0B371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1482C2-8694-451D-8970-1A36FBADC8A7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F98D7AD-EAC4-1533-0F60-C4A330528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27E699B-2F5B-A66F-DB6C-934017A112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245259-FD46-4BAB-B2A5-88DAA810AA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2494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6207ACF-FFB7-E5F0-2410-A5DD35B434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817144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DA15196-5CB4-4739-62ED-5314563975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67630F-933B-66E4-7E07-7162809326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6EC32D-2B1B-F3B4-4D1B-076E573B87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21482C2-8694-451D-8970-1A36FBADC8A7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C5C53D-FEA5-976C-C584-FDF34F09BC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5A882D-E0B6-0752-DE8B-ED30E53E57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A245259-FD46-4BAB-B2A5-88DAA810AA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7420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customXml" Target="../ink/ink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6.png"/><Relationship Id="rId7" Type="http://schemas.openxmlformats.org/officeDocument/2006/relationships/customXml" Target="../ink/ink3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customXml" Target="../ink/ink2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B396338-91B4-EA89-AB42-69E50D438472}"/>
              </a:ext>
            </a:extLst>
          </p:cNvPr>
          <p:cNvSpPr txBox="1"/>
          <p:nvPr/>
        </p:nvSpPr>
        <p:spPr>
          <a:xfrm>
            <a:off x="638882" y="3577456"/>
            <a:ext cx="10909640" cy="1687814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="b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5600" b="1" kern="1200">
                <a:latin typeface="+mj-lt"/>
                <a:ea typeface="+mj-ea"/>
                <a:cs typeface="+mj-cs"/>
              </a:rPr>
              <a:t>Unlocking </a:t>
            </a:r>
            <a:r>
              <a:rPr lang="en-US" sz="5600" b="1">
                <a:latin typeface="+mj-lt"/>
                <a:ea typeface="+mj-ea"/>
                <a:cs typeface="+mj-cs"/>
              </a:rPr>
              <a:t>Airbnb</a:t>
            </a:r>
            <a:r>
              <a:rPr lang="en-US" sz="5600" b="1" kern="1200">
                <a:latin typeface="+mj-lt"/>
                <a:ea typeface="+mj-ea"/>
                <a:cs typeface="+mj-cs"/>
              </a:rPr>
              <a:t> Success: What Makes a Winning Listing?</a:t>
            </a:r>
            <a:r>
              <a:rPr lang="en-US" sz="5600" kern="1200">
                <a:latin typeface="+mj-lt"/>
                <a:ea typeface="+mj-ea"/>
                <a:cs typeface="+mj-cs"/>
              </a:rPr>
              <a:t>​</a:t>
            </a:r>
          </a:p>
        </p:txBody>
      </p:sp>
      <p:pic>
        <p:nvPicPr>
          <p:cNvPr id="6" name="Picture 10" descr="File:Airbnb Logo Bélo.svg - Wikipedia">
            <a:extLst>
              <a:ext uri="{FF2B5EF4-FFF2-40B4-BE49-F238E27FC236}">
                <a16:creationId xmlns:a16="http://schemas.microsoft.com/office/drawing/2014/main" id="{C40307C0-82F4-01C1-9115-2B09BC6C2B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05797" y="956487"/>
            <a:ext cx="6439588" cy="201237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720245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838D8A-2286-1BB1-ADAE-5462BB78AD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750675-1667-062B-41DB-4F08AAF0A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-61582"/>
            <a:ext cx="10770123" cy="963821"/>
          </a:xfrm>
        </p:spPr>
        <p:txBody>
          <a:bodyPr>
            <a:normAutofit/>
          </a:bodyPr>
          <a:lstStyle/>
          <a:p>
            <a:r>
              <a:rPr lang="en-GB" sz="28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"The Price is Right": Balancing Affordability and Quality</a:t>
            </a:r>
          </a:p>
        </p:txBody>
      </p:sp>
      <p:cxnSp>
        <p:nvCxnSpPr>
          <p:cNvPr id="4" name="直接连接符 2">
            <a:extLst>
              <a:ext uri="{FF2B5EF4-FFF2-40B4-BE49-F238E27FC236}">
                <a16:creationId xmlns:a16="http://schemas.microsoft.com/office/drawing/2014/main" id="{88F392CD-1423-CCD6-7A27-D48A69C2A3C7}"/>
              </a:ext>
            </a:extLst>
          </p:cNvPr>
          <p:cNvCxnSpPr>
            <a:cxnSpLocks/>
          </p:cNvCxnSpPr>
          <p:nvPr/>
        </p:nvCxnSpPr>
        <p:spPr>
          <a:xfrm>
            <a:off x="407987" y="688286"/>
            <a:ext cx="11376025" cy="0"/>
          </a:xfrm>
          <a:prstGeom prst="line">
            <a:avLst/>
          </a:prstGeom>
          <a:ln w="38100">
            <a:solidFill>
              <a:srgbClr val="8383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07DD18E0-007E-FAF5-BABD-D3032F7196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5757" y="902239"/>
            <a:ext cx="4894017" cy="245206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20CA2A6-55B9-B42F-3AD6-AF5F755EC3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59821" y="3610797"/>
            <a:ext cx="6289494" cy="286231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704B891-4624-8C4C-B945-DE8487E678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987" y="3612171"/>
            <a:ext cx="5056900" cy="286232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4DED6B3-5C41-F2AD-A99E-13ED999DD39D}"/>
              </a:ext>
            </a:extLst>
          </p:cNvPr>
          <p:cNvSpPr txBox="1"/>
          <p:nvPr/>
        </p:nvSpPr>
        <p:spPr>
          <a:xfrm>
            <a:off x="5747898" y="817507"/>
            <a:ext cx="5938345" cy="34163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GB" b="1" dirty="0"/>
          </a:p>
          <a:p>
            <a:pPr>
              <a:buFont typeface="+mj-lt"/>
              <a:buAutoNum type="arabicPeriod"/>
            </a:pPr>
            <a:r>
              <a:rPr lang="en-GB" sz="1200" b="1" dirty="0">
                <a:latin typeface="Arial" panose="020B0604020202020204" pitchFamily="34" charset="0"/>
                <a:cs typeface="Arial" panose="020B0604020202020204" pitchFamily="34" charset="0"/>
              </a:rPr>
              <a:t>Accommodations and Bathrooms Drive Pricing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1"/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Listings accommodating </a:t>
            </a:r>
            <a:r>
              <a:rPr lang="en-GB" sz="1200" b="1" dirty="0">
                <a:latin typeface="Arial" panose="020B0604020202020204" pitchFamily="34" charset="0"/>
                <a:cs typeface="Arial" panose="020B0604020202020204" pitchFamily="34" charset="0"/>
              </a:rPr>
              <a:t>larger groups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 and offering </a:t>
            </a:r>
            <a:r>
              <a:rPr lang="en-GB" sz="1200" b="1" dirty="0">
                <a:latin typeface="Arial" panose="020B0604020202020204" pitchFamily="34" charset="0"/>
                <a:cs typeface="Arial" panose="020B0604020202020204" pitchFamily="34" charset="0"/>
              </a:rPr>
              <a:t>more bathrooms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 command significantly higher prices, as shown by the regression and scatterplot trends.</a:t>
            </a:r>
          </a:p>
          <a:p>
            <a:pPr>
              <a:buFont typeface="+mj-lt"/>
              <a:buAutoNum type="arabicPeriod"/>
            </a:pPr>
            <a:r>
              <a:rPr lang="en-GB" sz="1200" b="1" dirty="0">
                <a:latin typeface="Arial" panose="020B0604020202020204" pitchFamily="34" charset="0"/>
                <a:cs typeface="Arial" panose="020B0604020202020204" pitchFamily="34" charset="0"/>
              </a:rPr>
              <a:t>Bathrooms Have the Strongest Impact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1"/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Regression analysis reveals </a:t>
            </a:r>
            <a:r>
              <a:rPr lang="en-GB" sz="1200" b="1" dirty="0">
                <a:latin typeface="Arial" panose="020B0604020202020204" pitchFamily="34" charset="0"/>
                <a:cs typeface="Arial" panose="020B0604020202020204" pitchFamily="34" charset="0"/>
              </a:rPr>
              <a:t>bathrooms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 are the biggest driver of price increases, while accommodations show moderate impact and bedrooms minimal influence.</a:t>
            </a:r>
          </a:p>
          <a:p>
            <a:pPr>
              <a:buFont typeface="+mj-lt"/>
              <a:buAutoNum type="arabicPeriod"/>
            </a:pPr>
            <a:r>
              <a:rPr lang="en-GB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Neighborhood</a:t>
            </a:r>
            <a:r>
              <a:rPr lang="en-GB" sz="1200" b="1" dirty="0">
                <a:latin typeface="Arial" panose="020B0604020202020204" pitchFamily="34" charset="0"/>
                <a:cs typeface="Arial" panose="020B0604020202020204" pitchFamily="34" charset="0"/>
              </a:rPr>
              <a:t> Variation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1"/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Map analysis highlights areas with higher </a:t>
            </a:r>
            <a:r>
              <a:rPr lang="en-GB" sz="1200" b="1" dirty="0">
                <a:latin typeface="Arial" panose="020B0604020202020204" pitchFamily="34" charset="0"/>
                <a:cs typeface="Arial" panose="020B0604020202020204" pitchFamily="34" charset="0"/>
              </a:rPr>
              <a:t>guest accommodation capacity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, such as certain coastal and suburban regions, which align with higher pricing potential.</a:t>
            </a:r>
          </a:p>
          <a:p>
            <a:pPr marL="285750" indent="-285750">
              <a:buFont typeface="Arial"/>
              <a:buChar char="•"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45028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838D8A-2286-1BB1-ADAE-5462BB78AD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750675-1667-062B-41DB-4F08AAF0A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-61582"/>
            <a:ext cx="10770123" cy="963821"/>
          </a:xfrm>
        </p:spPr>
        <p:txBody>
          <a:bodyPr>
            <a:normAutofit/>
          </a:bodyPr>
          <a:lstStyle/>
          <a:p>
            <a:r>
              <a:rPr lang="en-US" sz="2800" b="1">
                <a:latin typeface="Arial" panose="020B0604020202020204" pitchFamily="34" charset="0"/>
                <a:cs typeface="Arial" panose="020B0604020202020204" pitchFamily="34" charset="0"/>
              </a:rPr>
              <a:t>Does the absence of reviews affect price significantly?</a:t>
            </a:r>
          </a:p>
        </p:txBody>
      </p:sp>
      <p:cxnSp>
        <p:nvCxnSpPr>
          <p:cNvPr id="4" name="直接连接符 2">
            <a:extLst>
              <a:ext uri="{FF2B5EF4-FFF2-40B4-BE49-F238E27FC236}">
                <a16:creationId xmlns:a16="http://schemas.microsoft.com/office/drawing/2014/main" id="{88F392CD-1423-CCD6-7A27-D48A69C2A3C7}"/>
              </a:ext>
            </a:extLst>
          </p:cNvPr>
          <p:cNvCxnSpPr>
            <a:cxnSpLocks/>
          </p:cNvCxnSpPr>
          <p:nvPr/>
        </p:nvCxnSpPr>
        <p:spPr>
          <a:xfrm>
            <a:off x="407987" y="688286"/>
            <a:ext cx="11376025" cy="0"/>
          </a:xfrm>
          <a:prstGeom prst="line">
            <a:avLst/>
          </a:prstGeom>
          <a:ln w="38100">
            <a:solidFill>
              <a:srgbClr val="8383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8097D17B-B2A7-4CD2-8E67-A48B86916D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8614" y="1446928"/>
            <a:ext cx="4812882" cy="380993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0D2003B-C7CE-48D2-977C-7653CBB5B911}"/>
              </a:ext>
            </a:extLst>
          </p:cNvPr>
          <p:cNvSpPr/>
          <p:nvPr/>
        </p:nvSpPr>
        <p:spPr>
          <a:xfrm>
            <a:off x="248402" y="5801553"/>
            <a:ext cx="6096000" cy="7386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spAutoFit/>
          </a:bodyPr>
          <a:lstStyle/>
          <a:p>
            <a:r>
              <a:rPr lang="en-US" sz="1400" b="1">
                <a:latin typeface="Arial" panose="020B0604020202020204" pitchFamily="34" charset="0"/>
                <a:cs typeface="Arial" panose="020B0604020202020204" pitchFamily="34" charset="0"/>
              </a:rPr>
              <a:t>Surprisingly, the mean for sample of listings without review is bigger than the mean of sample with reviews. Let us see if this is statistically significan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D2FCAE9-A86F-4566-AF03-B86DBD95C1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56089" y="1549921"/>
            <a:ext cx="5627923" cy="370694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CFF7274-7B22-432F-91D5-7754CAA88D7E}"/>
              </a:ext>
            </a:extLst>
          </p:cNvPr>
          <p:cNvSpPr/>
          <p:nvPr/>
        </p:nvSpPr>
        <p:spPr>
          <a:xfrm>
            <a:off x="6503988" y="5801553"/>
            <a:ext cx="5439610" cy="52322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 b="1">
                <a:latin typeface="Arial" panose="020B0604020202020204" pitchFamily="34" charset="0"/>
                <a:cs typeface="Arial" panose="020B0604020202020204" pitchFamily="34" charset="0"/>
              </a:rPr>
              <a:t>This means that listings without reviews are, on average, $180 more expensive than listings with reviews</a:t>
            </a:r>
          </a:p>
        </p:txBody>
      </p:sp>
    </p:spTree>
    <p:extLst>
      <p:ext uri="{BB962C8B-B14F-4D97-AF65-F5344CB8AC3E}">
        <p14:creationId xmlns:p14="http://schemas.microsoft.com/office/powerpoint/2010/main" val="8477128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838D8A-2286-1BB1-ADAE-5462BB78AD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750675-1667-062B-41DB-4F08AAF0A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-61582"/>
            <a:ext cx="10770123" cy="963821"/>
          </a:xfrm>
        </p:spPr>
        <p:txBody>
          <a:bodyPr>
            <a:normAutofit/>
          </a:bodyPr>
          <a:lstStyle/>
          <a:p>
            <a:r>
              <a:rPr lang="en-GB" sz="2800" b="1">
                <a:solidFill>
                  <a:srgbClr val="000000"/>
                </a:solidFill>
                <a:latin typeface="Arial" panose="020B0604020202020204" pitchFamily="34" charset="0"/>
              </a:rPr>
              <a:t>Model Performance Comparison for Airbnb Price Prediction</a:t>
            </a:r>
            <a:endParaRPr lang="en-GB" sz="2800" b="1" i="0" u="none" strike="noStrike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4" name="直接连接符 2">
            <a:extLst>
              <a:ext uri="{FF2B5EF4-FFF2-40B4-BE49-F238E27FC236}">
                <a16:creationId xmlns:a16="http://schemas.microsoft.com/office/drawing/2014/main" id="{88F392CD-1423-CCD6-7A27-D48A69C2A3C7}"/>
              </a:ext>
            </a:extLst>
          </p:cNvPr>
          <p:cNvCxnSpPr>
            <a:cxnSpLocks/>
          </p:cNvCxnSpPr>
          <p:nvPr/>
        </p:nvCxnSpPr>
        <p:spPr>
          <a:xfrm>
            <a:off x="407987" y="688286"/>
            <a:ext cx="11376025" cy="0"/>
          </a:xfrm>
          <a:prstGeom prst="line">
            <a:avLst/>
          </a:prstGeom>
          <a:ln w="38100">
            <a:solidFill>
              <a:srgbClr val="8383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6BD6629A-7397-40ED-BC09-354AD6A8C405}"/>
              </a:ext>
            </a:extLst>
          </p:cNvPr>
          <p:cNvSpPr/>
          <p:nvPr/>
        </p:nvSpPr>
        <p:spPr>
          <a:xfrm>
            <a:off x="6092659" y="1561944"/>
            <a:ext cx="5843755" cy="892552"/>
          </a:xfrm>
          <a:prstGeom prst="rect">
            <a:avLst/>
          </a:prstGeom>
          <a:solidFill>
            <a:schemeClr val="bg2"/>
          </a:solidFill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600" b="1">
                <a:latin typeface="Arial"/>
                <a:cs typeface="Arial"/>
              </a:rPr>
              <a:t>R²</a:t>
            </a:r>
            <a:r>
              <a:rPr lang="en-US" sz="1600">
                <a:latin typeface="Arial"/>
                <a:cs typeface="Arial"/>
              </a:rPr>
              <a:t>:        </a:t>
            </a:r>
            <a:r>
              <a:rPr lang="en-US" sz="1400">
                <a:latin typeface="Arial"/>
                <a:cs typeface="Arial"/>
              </a:rPr>
              <a:t>Explains the proportion of variance in the target variable</a:t>
            </a:r>
            <a:endParaRPr lang="ru-RU"/>
          </a:p>
          <a:p>
            <a:r>
              <a:rPr lang="en-US" sz="1600" b="1">
                <a:latin typeface="Arial"/>
                <a:cs typeface="Arial"/>
              </a:rPr>
              <a:t>MAE</a:t>
            </a:r>
            <a:r>
              <a:rPr lang="en-US">
                <a:latin typeface="Arial"/>
                <a:cs typeface="Arial"/>
              </a:rPr>
              <a:t>:   </a:t>
            </a:r>
            <a:r>
              <a:rPr lang="en-US" sz="1400">
                <a:latin typeface="Arial"/>
                <a:cs typeface="Arial"/>
              </a:rPr>
              <a:t>Measures average absolute prediction errors</a:t>
            </a:r>
          </a:p>
          <a:p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RMS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Penalizes large errors, emphasizing the impact of outliers </a:t>
            </a:r>
            <a:endParaRPr lang="en-US" sz="14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28D579D-23AA-44FD-B5A3-D6C6582DAA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587" y="1240434"/>
            <a:ext cx="5730341" cy="4829351"/>
          </a:xfrm>
          <a:prstGeom prst="rect">
            <a:avLst/>
          </a:prstGeom>
        </p:spPr>
      </p:pic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517BF858-393D-4852-9494-2B11A6A343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5329409"/>
              </p:ext>
            </p:extLst>
          </p:nvPr>
        </p:nvGraphicFramePr>
        <p:xfrm>
          <a:off x="6095999" y="3111062"/>
          <a:ext cx="5868496" cy="1918837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467124">
                  <a:extLst>
                    <a:ext uri="{9D8B030D-6E8A-4147-A177-3AD203B41FA5}">
                      <a16:colId xmlns:a16="http://schemas.microsoft.com/office/drawing/2014/main" val="946153242"/>
                    </a:ext>
                  </a:extLst>
                </a:gridCol>
                <a:gridCol w="1467124">
                  <a:extLst>
                    <a:ext uri="{9D8B030D-6E8A-4147-A177-3AD203B41FA5}">
                      <a16:colId xmlns:a16="http://schemas.microsoft.com/office/drawing/2014/main" val="2238172824"/>
                    </a:ext>
                  </a:extLst>
                </a:gridCol>
                <a:gridCol w="1467124">
                  <a:extLst>
                    <a:ext uri="{9D8B030D-6E8A-4147-A177-3AD203B41FA5}">
                      <a16:colId xmlns:a16="http://schemas.microsoft.com/office/drawing/2014/main" val="1504065230"/>
                    </a:ext>
                  </a:extLst>
                </a:gridCol>
                <a:gridCol w="1467124">
                  <a:extLst>
                    <a:ext uri="{9D8B030D-6E8A-4147-A177-3AD203B41FA5}">
                      <a16:colId xmlns:a16="http://schemas.microsoft.com/office/drawing/2014/main" val="4054081470"/>
                    </a:ext>
                  </a:extLst>
                </a:gridCol>
              </a:tblGrid>
              <a:tr h="418393">
                <a:tc>
                  <a:txBody>
                    <a:bodyPr/>
                    <a:lstStyle/>
                    <a:p>
                      <a:r>
                        <a:rPr lang="ru-RU"/>
                        <a:t>Mod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/>
                        <a:t>MA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/>
                        <a:t>RM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/>
                        <a:t>R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1284941"/>
                  </a:ext>
                </a:extLst>
              </a:tr>
              <a:tr h="750222">
                <a:tc>
                  <a:txBody>
                    <a:bodyPr/>
                    <a:lstStyle/>
                    <a:p>
                      <a:r>
                        <a:rPr lang="ru-RU"/>
                        <a:t>Random Forest</a:t>
                      </a:r>
                      <a:endParaRPr lang="ru-RU" err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/>
                        <a:t>0.17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/>
                        <a:t>0.293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/>
                        <a:t>0.915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3131406"/>
                  </a:ext>
                </a:extLst>
              </a:tr>
              <a:tr h="750222">
                <a:tc>
                  <a:txBody>
                    <a:bodyPr/>
                    <a:lstStyle/>
                    <a:p>
                      <a:r>
                        <a:rPr lang="ru-RU"/>
                        <a:t>Linear Regression</a:t>
                      </a:r>
                      <a:endParaRPr lang="ru-RU" err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/>
                        <a:t>0.386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/>
                        <a:t>0.514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/>
                        <a:t>0.739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18717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976068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838D8A-2286-1BB1-ADAE-5462BB78AD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750675-1667-062B-41DB-4F08AAF0A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-61582"/>
            <a:ext cx="10770123" cy="963821"/>
          </a:xfrm>
        </p:spPr>
        <p:txBody>
          <a:bodyPr>
            <a:normAutofit/>
          </a:bodyPr>
          <a:lstStyle/>
          <a:p>
            <a:r>
              <a:rPr lang="en-US" sz="2800" b="1">
                <a:solidFill>
                  <a:srgbClr val="000000"/>
                </a:solidFill>
                <a:latin typeface="Arial"/>
                <a:cs typeface="Arial"/>
              </a:rPr>
              <a:t>Relationships Between Key Variables </a:t>
            </a:r>
            <a:endParaRPr lang="en-US" sz="2800" b="1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</p:txBody>
      </p:sp>
      <p:cxnSp>
        <p:nvCxnSpPr>
          <p:cNvPr id="4" name="直接连接符 2">
            <a:extLst>
              <a:ext uri="{FF2B5EF4-FFF2-40B4-BE49-F238E27FC236}">
                <a16:creationId xmlns:a16="http://schemas.microsoft.com/office/drawing/2014/main" id="{88F392CD-1423-CCD6-7A27-D48A69C2A3C7}"/>
              </a:ext>
            </a:extLst>
          </p:cNvPr>
          <p:cNvCxnSpPr>
            <a:cxnSpLocks/>
          </p:cNvCxnSpPr>
          <p:nvPr/>
        </p:nvCxnSpPr>
        <p:spPr>
          <a:xfrm>
            <a:off x="407987" y="688286"/>
            <a:ext cx="11376025" cy="0"/>
          </a:xfrm>
          <a:prstGeom prst="line">
            <a:avLst/>
          </a:prstGeom>
          <a:ln w="38100">
            <a:solidFill>
              <a:srgbClr val="8383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B88F0099-1399-4F76-9615-6F560307E2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693" y="1139075"/>
            <a:ext cx="6885544" cy="42615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B92CFD0-DD12-41F3-960F-537C21D926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32924" y="781049"/>
            <a:ext cx="3342181" cy="291747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8D91849-090F-4EB3-94FA-6330FCB009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32924" y="3794097"/>
            <a:ext cx="3525517" cy="306390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886F2D3-4A0D-41B2-842C-FD610F5F7887}"/>
              </a:ext>
            </a:extLst>
          </p:cNvPr>
          <p:cNvSpPr/>
          <p:nvPr/>
        </p:nvSpPr>
        <p:spPr>
          <a:xfrm>
            <a:off x="546274" y="5947525"/>
            <a:ext cx="6622963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US"/>
              <a:t>While review scores show a slight positive trend, other factors like instant bookable status have minimal direct impact on pricing.</a:t>
            </a:r>
          </a:p>
        </p:txBody>
      </p:sp>
    </p:spTree>
    <p:extLst>
      <p:ext uri="{BB962C8B-B14F-4D97-AF65-F5344CB8AC3E}">
        <p14:creationId xmlns:p14="http://schemas.microsoft.com/office/powerpoint/2010/main" val="32601867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838D8A-2286-1BB1-ADAE-5462BB78AD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750675-1667-062B-41DB-4F08AAF0A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-61582"/>
            <a:ext cx="10770123" cy="963821"/>
          </a:xfrm>
        </p:spPr>
        <p:txBody>
          <a:bodyPr>
            <a:normAutofit/>
          </a:bodyPr>
          <a:lstStyle/>
          <a:p>
            <a:r>
              <a:rPr lang="en-US" sz="2800" b="1">
                <a:solidFill>
                  <a:srgbClr val="000000"/>
                </a:solidFill>
                <a:latin typeface="Arial"/>
                <a:cs typeface="Arial"/>
              </a:rPr>
              <a:t>Key Insights and Takeaways</a:t>
            </a:r>
            <a:endParaRPr lang="en-GB" sz="2800" b="1">
              <a:solidFill>
                <a:srgbClr val="000000"/>
              </a:solidFill>
              <a:latin typeface="Arial"/>
              <a:cs typeface="Arial"/>
            </a:endParaRPr>
          </a:p>
        </p:txBody>
      </p:sp>
      <p:cxnSp>
        <p:nvCxnSpPr>
          <p:cNvPr id="4" name="直接连接符 2">
            <a:extLst>
              <a:ext uri="{FF2B5EF4-FFF2-40B4-BE49-F238E27FC236}">
                <a16:creationId xmlns:a16="http://schemas.microsoft.com/office/drawing/2014/main" id="{88F392CD-1423-CCD6-7A27-D48A69C2A3C7}"/>
              </a:ext>
            </a:extLst>
          </p:cNvPr>
          <p:cNvCxnSpPr>
            <a:cxnSpLocks/>
          </p:cNvCxnSpPr>
          <p:nvPr/>
        </p:nvCxnSpPr>
        <p:spPr>
          <a:xfrm>
            <a:off x="407987" y="688286"/>
            <a:ext cx="11376025" cy="0"/>
          </a:xfrm>
          <a:prstGeom prst="line">
            <a:avLst/>
          </a:prstGeom>
          <a:ln w="38100">
            <a:solidFill>
              <a:srgbClr val="8383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8F10F342-EADF-4958-B309-6C2A14C8221B}"/>
              </a:ext>
            </a:extLst>
          </p:cNvPr>
          <p:cNvSpPr/>
          <p:nvPr/>
        </p:nvSpPr>
        <p:spPr>
          <a:xfrm>
            <a:off x="410099" y="918530"/>
            <a:ext cx="5867520" cy="23083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45720" rIns="91440" bIns="45720" anchor="t">
            <a:spAutoFit/>
          </a:bodyPr>
          <a:lstStyle/>
          <a:p>
            <a:r>
              <a:rPr lang="en-US" b="1"/>
              <a:t>                                         Location</a:t>
            </a:r>
            <a:endParaRPr lang="en-US"/>
          </a:p>
          <a:p>
            <a:endParaRPr lang="en-US" b="1"/>
          </a:p>
          <a:p>
            <a:r>
              <a:rPr lang="en-US"/>
              <a:t>Coastal areas like Santa Monica and Long Beach exhibit a "coastal premium" effect, commanding higher prices and hosting a higher density of </a:t>
            </a:r>
            <a:r>
              <a:rPr lang="en-US" err="1"/>
              <a:t>superhosts</a:t>
            </a:r>
          </a:p>
          <a:p>
            <a:endParaRPr lang="en-US"/>
          </a:p>
          <a:p>
            <a:r>
              <a:rPr lang="en-US"/>
              <a:t>Proximity to public transport and landmarks boosts booking rates by 25-30%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C1EF38E-4189-4B0E-8BB9-4D995AF3FA3E}"/>
              </a:ext>
            </a:extLst>
          </p:cNvPr>
          <p:cNvSpPr/>
          <p:nvPr/>
        </p:nvSpPr>
        <p:spPr>
          <a:xfrm>
            <a:off x="6634356" y="798111"/>
            <a:ext cx="5399762" cy="286232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91440" tIns="45720" rIns="91440" bIns="45720" anchor="t">
            <a:spAutoFit/>
          </a:bodyPr>
          <a:lstStyle/>
          <a:p>
            <a:r>
              <a:rPr lang="en-US" b="1"/>
              <a:t>                     Host Strategies Matter</a:t>
            </a:r>
            <a:endParaRPr lang="en-US"/>
          </a:p>
          <a:p>
            <a:endParaRPr lang="en-US" b="1"/>
          </a:p>
          <a:p>
            <a:r>
              <a:rPr lang="en-US" b="1" err="1"/>
              <a:t>Superhost</a:t>
            </a:r>
            <a:r>
              <a:rPr lang="en-US" b="1"/>
              <a:t> Status</a:t>
            </a:r>
            <a:r>
              <a:rPr lang="en-US"/>
              <a:t>: While </a:t>
            </a:r>
            <a:r>
              <a:rPr lang="en-US" err="1"/>
              <a:t>superhosts</a:t>
            </a:r>
            <a:r>
              <a:rPr lang="en-US"/>
              <a:t> offer better guest experiences, their pricing isn't necessarily higher, suggesting their appeal lies in reliability rather than cost</a:t>
            </a:r>
          </a:p>
          <a:p>
            <a:endParaRPr lang="en-US"/>
          </a:p>
          <a:p>
            <a:r>
              <a:rPr lang="en-US" b="1"/>
              <a:t>Response Times</a:t>
            </a:r>
            <a:r>
              <a:rPr lang="en-US"/>
              <a:t>: Hosts responding within an hour achieve the highest review scores (4.8+). Delayed responses significantly reduce satisfac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8C06D3-17E8-4800-B67B-3E86EAF357B9}"/>
              </a:ext>
            </a:extLst>
          </p:cNvPr>
          <p:cNvSpPr/>
          <p:nvPr/>
        </p:nvSpPr>
        <p:spPr>
          <a:xfrm>
            <a:off x="408548" y="3795461"/>
            <a:ext cx="5856112" cy="149143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91440" tIns="45720" rIns="91440" bIns="45720" anchor="t">
            <a:spAutoFit/>
          </a:bodyPr>
          <a:lstStyle/>
          <a:p>
            <a:r>
              <a:rPr lang="en-US" b="1"/>
              <a:t>                                          Review Presence</a:t>
            </a:r>
            <a:endParaRPr lang="en-US"/>
          </a:p>
          <a:p>
            <a:endParaRPr lang="en-US"/>
          </a:p>
          <a:p>
            <a:r>
              <a:rPr lang="en-US"/>
              <a:t>Surprisingly, listings without reviews are, on average, $180 more expensive than those with reviews. This trend might stem from new, high-end listings skewing the data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85DE1F8-A94E-4F56-9CFE-9B3DEB37F290}"/>
              </a:ext>
            </a:extLst>
          </p:cNvPr>
          <p:cNvSpPr/>
          <p:nvPr/>
        </p:nvSpPr>
        <p:spPr>
          <a:xfrm>
            <a:off x="6630760" y="4011512"/>
            <a:ext cx="5423192" cy="25853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FFC5C7"/>
            </a:solidFill>
          </a:ln>
        </p:spPr>
        <p:txBody>
          <a:bodyPr wrap="square" lIns="91440" tIns="45720" rIns="91440" bIns="45720" anchor="t">
            <a:spAutoFit/>
          </a:bodyPr>
          <a:lstStyle/>
          <a:p>
            <a:r>
              <a:rPr lang="en-US" b="1"/>
              <a:t>                      Amenities and Property Features</a:t>
            </a:r>
            <a:br>
              <a:rPr lang="en-US"/>
            </a:br>
            <a:endParaRPr lang="en-US"/>
          </a:p>
          <a:p>
            <a:pPr lvl="1"/>
            <a:r>
              <a:rPr lang="en-US"/>
              <a:t>Each additional bathroom exponentially increases price, particularly beyond 2.5 bathrooms</a:t>
            </a:r>
          </a:p>
          <a:p>
            <a:pPr lvl="1"/>
            <a:endParaRPr lang="en-US"/>
          </a:p>
          <a:p>
            <a:pPr lvl="1"/>
            <a:r>
              <a:rPr lang="en-US"/>
              <a:t>Accommodations for larger groups (7+ guests) perform better in central locations compared to peripheral areas</a:t>
            </a:r>
          </a:p>
        </p:txBody>
      </p:sp>
    </p:spTree>
    <p:extLst>
      <p:ext uri="{BB962C8B-B14F-4D97-AF65-F5344CB8AC3E}">
        <p14:creationId xmlns:p14="http://schemas.microsoft.com/office/powerpoint/2010/main" val="20856793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272743-3A22-1D3E-4FAC-670B275D1C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936" y="-1498"/>
            <a:ext cx="10515600" cy="1325563"/>
          </a:xfrm>
        </p:spPr>
        <p:txBody>
          <a:bodyPr>
            <a:normAutofit/>
          </a:bodyPr>
          <a:lstStyle/>
          <a:p>
            <a:r>
              <a:rPr lang="en-GB" sz="3600" b="1">
                <a:ea typeface="+mj-lt"/>
                <a:cs typeface="+mj-lt"/>
              </a:rPr>
              <a:t>Host Recommend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75A217-163F-2465-2BBC-0CCFD062C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84540" y="6139577"/>
            <a:ext cx="6136306" cy="2449858"/>
          </a:xfrm>
        </p:spPr>
        <p:txBody>
          <a:bodyPr vert="horz" lIns="91440" tIns="45720" rIns="91440" bIns="45720" rtlCol="0" anchor="t">
            <a:noAutofit/>
          </a:bodyPr>
          <a:lstStyle/>
          <a:p>
            <a:endParaRPr lang="en-GB" sz="800"/>
          </a:p>
          <a:p>
            <a:pPr marL="457200" lvl="1" indent="0">
              <a:buNone/>
            </a:pPr>
            <a:endParaRPr lang="en-GB" sz="800"/>
          </a:p>
          <a:p>
            <a:pPr marL="457200" lvl="1" indent="0">
              <a:buNone/>
            </a:pPr>
            <a:endParaRPr lang="en-GB" sz="800"/>
          </a:p>
          <a:p>
            <a:pPr marL="457200" lvl="1" indent="0">
              <a:buNone/>
            </a:pPr>
            <a:endParaRPr lang="en-GB" sz="8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A0A14A-1E78-F32D-8922-2169378F0F81}"/>
              </a:ext>
            </a:extLst>
          </p:cNvPr>
          <p:cNvSpPr txBox="1"/>
          <p:nvPr/>
        </p:nvSpPr>
        <p:spPr>
          <a:xfrm>
            <a:off x="779204" y="1105569"/>
            <a:ext cx="10082841" cy="144655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br>
              <a:rPr lang="en-US" sz="1400" b="1">
                <a:latin typeface="Arial"/>
              </a:rPr>
            </a:br>
            <a:endParaRPr lang="en-US" sz="1400">
              <a:latin typeface="Arial"/>
              <a:cs typeface="Arial"/>
            </a:endParaRPr>
          </a:p>
          <a:p>
            <a:endParaRPr lang="en-US" sz="2000">
              <a:latin typeface="Arial"/>
              <a:cs typeface="Arial"/>
            </a:endParaRPr>
          </a:p>
          <a:p>
            <a:endParaRPr lang="en-US" sz="2000"/>
          </a:p>
          <a:p>
            <a:endParaRPr lang="en-US" sz="200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C688ADCE-45A2-37ED-9FF1-DBC9B179EBFB}"/>
              </a:ext>
            </a:extLst>
          </p:cNvPr>
          <p:cNvSpPr/>
          <p:nvPr/>
        </p:nvSpPr>
        <p:spPr>
          <a:xfrm>
            <a:off x="935617" y="1717316"/>
            <a:ext cx="9025878" cy="36933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45720" rIns="91440" bIns="45720" anchor="t">
            <a:spAutoFit/>
          </a:bodyPr>
          <a:lstStyle/>
          <a:p>
            <a:pPr marL="285750" indent="-285750" algn="just">
              <a:buFont typeface="Arial"/>
              <a:buChar char="•"/>
            </a:pPr>
            <a:endParaRPr lang="en-US"/>
          </a:p>
          <a:p>
            <a:pPr marL="285750" indent="-285750" algn="just">
              <a:buFont typeface="Arial"/>
              <a:buChar char="•"/>
            </a:pPr>
            <a:r>
              <a:rPr lang="en-US" b="1"/>
              <a:t>Prioritize rapid response times (under 1 hour) to maximize review scores </a:t>
            </a:r>
            <a:endParaRPr lang="en-US"/>
          </a:p>
          <a:p>
            <a:pPr marL="342900" indent="-285750" algn="just">
              <a:buFont typeface="Arial"/>
              <a:buChar char="•"/>
            </a:pPr>
            <a:endParaRPr lang="en-US"/>
          </a:p>
          <a:p>
            <a:pPr marL="285750" indent="-285750" algn="just">
              <a:buFont typeface="Arial"/>
              <a:buChar char="•"/>
            </a:pPr>
            <a:r>
              <a:rPr lang="en-US" b="1"/>
              <a:t>Consider property size relative to neighborhood averages when entering the market</a:t>
            </a:r>
            <a:endParaRPr lang="en-US"/>
          </a:p>
          <a:p>
            <a:pPr marL="285750" indent="-285750" algn="just">
              <a:buFont typeface="Arial"/>
              <a:buChar char="•"/>
            </a:pPr>
            <a:endParaRPr lang="en-US"/>
          </a:p>
          <a:p>
            <a:pPr marL="285750" indent="-285750" algn="just">
              <a:buFont typeface="Arial"/>
              <a:buChar char="•"/>
            </a:pPr>
            <a:r>
              <a:rPr lang="en-US" b="1"/>
              <a:t>Focus on location-specific amenities rather than competing solely on price </a:t>
            </a:r>
            <a:endParaRPr lang="en-US"/>
          </a:p>
          <a:p>
            <a:pPr marL="285750" indent="-285750" algn="just">
              <a:buFont typeface="Arial"/>
              <a:buChar char="•"/>
            </a:pPr>
            <a:endParaRPr lang="en-US"/>
          </a:p>
          <a:p>
            <a:pPr marL="285750" indent="-285750" algn="just">
              <a:buFont typeface="Arial"/>
              <a:buChar char="•"/>
            </a:pPr>
            <a:r>
              <a:rPr lang="en-US" b="1"/>
              <a:t>Implement instant booking to remain competitive, especially in high-density areas </a:t>
            </a:r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 b="1"/>
          </a:p>
        </p:txBody>
      </p:sp>
      <p:cxnSp>
        <p:nvCxnSpPr>
          <p:cNvPr id="10" name="直接连接符 2">
            <a:extLst>
              <a:ext uri="{FF2B5EF4-FFF2-40B4-BE49-F238E27FC236}">
                <a16:creationId xmlns:a16="http://schemas.microsoft.com/office/drawing/2014/main" id="{6915C886-10F6-617A-34A1-1C3D910C1ADC}"/>
              </a:ext>
            </a:extLst>
          </p:cNvPr>
          <p:cNvCxnSpPr>
            <a:cxnSpLocks/>
          </p:cNvCxnSpPr>
          <p:nvPr/>
        </p:nvCxnSpPr>
        <p:spPr>
          <a:xfrm>
            <a:off x="323904" y="940534"/>
            <a:ext cx="11376025" cy="0"/>
          </a:xfrm>
          <a:prstGeom prst="line">
            <a:avLst/>
          </a:prstGeom>
          <a:ln w="38100">
            <a:solidFill>
              <a:srgbClr val="8383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70145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6">
            <a:extLst>
              <a:ext uri="{FF2B5EF4-FFF2-40B4-BE49-F238E27FC236}">
                <a16:creationId xmlns:a16="http://schemas.microsoft.com/office/drawing/2014/main" id="{1B017D07-86C3-FA1E-90A8-51BA17567179}"/>
              </a:ext>
            </a:extLst>
          </p:cNvPr>
          <p:cNvSpPr txBox="1"/>
          <p:nvPr/>
        </p:nvSpPr>
        <p:spPr>
          <a:xfrm>
            <a:off x="304981" y="296862"/>
            <a:ext cx="11479031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28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Unlocking Airbnb Success: What Makes a Winning Listing?</a:t>
            </a:r>
            <a:endParaRPr lang="en-GB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78D1FC8-3E8A-5881-995C-49C890DF45B6}"/>
              </a:ext>
            </a:extLst>
          </p:cNvPr>
          <p:cNvSpPr/>
          <p:nvPr/>
        </p:nvSpPr>
        <p:spPr>
          <a:xfrm>
            <a:off x="304980" y="5869802"/>
            <a:ext cx="4302233" cy="64022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9" name="直接连接符 2">
            <a:extLst>
              <a:ext uri="{FF2B5EF4-FFF2-40B4-BE49-F238E27FC236}">
                <a16:creationId xmlns:a16="http://schemas.microsoft.com/office/drawing/2014/main" id="{87D0721E-0572-7FE3-72B1-E287D89DA0F6}"/>
              </a:ext>
            </a:extLst>
          </p:cNvPr>
          <p:cNvCxnSpPr>
            <a:cxnSpLocks/>
          </p:cNvCxnSpPr>
          <p:nvPr/>
        </p:nvCxnSpPr>
        <p:spPr>
          <a:xfrm>
            <a:off x="385763" y="1184461"/>
            <a:ext cx="11376025" cy="0"/>
          </a:xfrm>
          <a:prstGeom prst="line">
            <a:avLst/>
          </a:prstGeom>
          <a:ln w="38100">
            <a:solidFill>
              <a:srgbClr val="8383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文本框 6">
            <a:extLst>
              <a:ext uri="{FF2B5EF4-FFF2-40B4-BE49-F238E27FC236}">
                <a16:creationId xmlns:a16="http://schemas.microsoft.com/office/drawing/2014/main" id="{8A278907-8B1B-353D-DA1C-8AC530FE0E65}"/>
              </a:ext>
            </a:extLst>
          </p:cNvPr>
          <p:cNvSpPr txBox="1"/>
          <p:nvPr/>
        </p:nvSpPr>
        <p:spPr>
          <a:xfrm>
            <a:off x="304980" y="834454"/>
            <a:ext cx="11479031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1400" b="1" dirty="0">
                <a:solidFill>
                  <a:schemeClr val="bg2">
                    <a:lumMod val="50000"/>
                  </a:schemeClr>
                </a:solidFill>
              </a:rPr>
              <a:t>Optimizing Airbnb Success in LA: Key Strategies for Location, Hosting Approach, and Pricing to Drive Long-Term Performance</a:t>
            </a:r>
            <a:endParaRPr lang="en-GB" sz="1400" b="1" dirty="0">
              <a:solidFill>
                <a:schemeClr val="bg2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35D0CE2-5EC4-F8B7-B506-C54B9030961F}"/>
              </a:ext>
            </a:extLst>
          </p:cNvPr>
          <p:cNvSpPr txBox="1"/>
          <p:nvPr/>
        </p:nvSpPr>
        <p:spPr>
          <a:xfrm>
            <a:off x="304980" y="1264974"/>
            <a:ext cx="7112214" cy="452431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Our project, “Optimizing Airbnb Success in LA: Key Strategies for Location, Hosting Approach, and Pricing to Drive Long-Term Performance,” seeks to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identify the critical factors influencing success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for new Airbnb hosts in Los Angeles.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We selected this dataset because Airbnb in LA represents a dynamic intersection of real estate, economics, and consumer behaviour, providing valuable insights for potential hosts. Our approach is threefold: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AutoNum type="arabicPeriod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nalyse the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impact of location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on competitive positioning and host success.</a:t>
            </a:r>
          </a:p>
          <a:p>
            <a:pPr marL="342900" indent="-342900">
              <a:buAutoNum type="arabicPeriod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ssess how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hosting strategies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influence overall listing performance.</a:t>
            </a:r>
          </a:p>
          <a:p>
            <a:pPr marL="342900" indent="-342900">
              <a:buAutoNum type="arabicPeriod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Investigate the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role of pricing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in balancing profitability with market appeal.</a:t>
            </a:r>
          </a:p>
        </p:txBody>
      </p:sp>
      <p:pic>
        <p:nvPicPr>
          <p:cNvPr id="11" name="Picture 10" descr="File:Airbnb Logo Bélo.svg - Wikipedia">
            <a:extLst>
              <a:ext uri="{FF2B5EF4-FFF2-40B4-BE49-F238E27FC236}">
                <a16:creationId xmlns:a16="http://schemas.microsoft.com/office/drawing/2014/main" id="{1AE84C67-D011-98A8-888A-239926DB98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95142" y="1580348"/>
            <a:ext cx="3268461" cy="1018935"/>
          </a:xfrm>
          <a:prstGeom prst="rect">
            <a:avLst/>
          </a:prstGeom>
          <a:ln>
            <a:noFill/>
          </a:ln>
        </p:spPr>
      </p:pic>
      <p:pic>
        <p:nvPicPr>
          <p:cNvPr id="14" name="Picture 13" descr="Big Idaho® Potato Hotel | Idaho Potato Commission">
            <a:extLst>
              <a:ext uri="{FF2B5EF4-FFF2-40B4-BE49-F238E27FC236}">
                <a16:creationId xmlns:a16="http://schemas.microsoft.com/office/drawing/2014/main" id="{2EF70FCA-3E41-2926-7603-955E0A18EF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97421" y="2918033"/>
            <a:ext cx="3784348" cy="252271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B59FE83-7AA8-9278-E811-0EFEA375CCC6}"/>
              </a:ext>
            </a:extLst>
          </p:cNvPr>
          <p:cNvSpPr txBox="1"/>
          <p:nvPr/>
        </p:nvSpPr>
        <p:spPr>
          <a:xfrm>
            <a:off x="210000" y="5933824"/>
            <a:ext cx="11273466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accent5">
                    <a:lumMod val="76000"/>
                  </a:schemeClr>
                </a:solidFill>
                <a:latin typeface="Consolas"/>
                <a:ea typeface="+mn-lt"/>
                <a:cs typeface="+mn-lt"/>
              </a:rPr>
              <a:t>Did you know that there are over 6 million Airbnb listings worldwide, spanning more than 100,000 cities? The most unusual listing? A potato-shaped house in Idaho!</a:t>
            </a:r>
            <a:endParaRPr lang="en-US" dirty="0">
              <a:solidFill>
                <a:schemeClr val="accent5">
                  <a:lumMod val="76000"/>
                </a:schemeClr>
              </a:solidFill>
              <a:latin typeface="Consolas"/>
            </a:endParaRPr>
          </a:p>
          <a:p>
            <a:pPr algn="l"/>
            <a:endParaRPr lang="en-US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20" name="Ink 19">
                <a:extLst>
                  <a:ext uri="{FF2B5EF4-FFF2-40B4-BE49-F238E27FC236}">
                    <a16:creationId xmlns:a16="http://schemas.microsoft.com/office/drawing/2014/main" id="{0B2237CD-914D-9D35-30BF-C13EB3030AB6}"/>
                  </a:ext>
                </a:extLst>
              </p14:cNvPr>
              <p14:cNvContentPartPr/>
              <p14:nvPr/>
            </p14:nvContentPartPr>
            <p14:xfrm>
              <a:off x="7295852" y="4277445"/>
              <a:ext cx="701569" cy="1592357"/>
            </p14:xfrm>
          </p:contentPart>
        </mc:Choice>
        <mc:Fallback xmlns="">
          <p:pic>
            <p:nvPicPr>
              <p:cNvPr id="20" name="Ink 19">
                <a:extLst>
                  <a:ext uri="{FF2B5EF4-FFF2-40B4-BE49-F238E27FC236}">
                    <a16:creationId xmlns:a16="http://schemas.microsoft.com/office/drawing/2014/main" id="{0B2237CD-914D-9D35-30BF-C13EB3030AB6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277863" y="4259448"/>
                <a:ext cx="737187" cy="1627991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8753022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6">
            <a:extLst>
              <a:ext uri="{FF2B5EF4-FFF2-40B4-BE49-F238E27FC236}">
                <a16:creationId xmlns:a16="http://schemas.microsoft.com/office/drawing/2014/main" id="{1B017D07-86C3-FA1E-90A8-51BA17567179}"/>
              </a:ext>
            </a:extLst>
          </p:cNvPr>
          <p:cNvSpPr txBox="1"/>
          <p:nvPr/>
        </p:nvSpPr>
        <p:spPr>
          <a:xfrm>
            <a:off x="304981" y="296862"/>
            <a:ext cx="11479031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2800" b="1">
                <a:latin typeface="Arial"/>
                <a:cs typeface="Arial"/>
              </a:rPr>
              <a:t>Dataset Exploration</a:t>
            </a:r>
            <a:endParaRPr lang="en-US">
              <a:latin typeface="Arial"/>
              <a:cs typeface="Arial"/>
            </a:endParaRPr>
          </a:p>
        </p:txBody>
      </p:sp>
      <p:cxnSp>
        <p:nvCxnSpPr>
          <p:cNvPr id="9" name="直接连接符 2">
            <a:extLst>
              <a:ext uri="{FF2B5EF4-FFF2-40B4-BE49-F238E27FC236}">
                <a16:creationId xmlns:a16="http://schemas.microsoft.com/office/drawing/2014/main" id="{87D0721E-0572-7FE3-72B1-E287D89DA0F6}"/>
              </a:ext>
            </a:extLst>
          </p:cNvPr>
          <p:cNvCxnSpPr>
            <a:cxnSpLocks/>
          </p:cNvCxnSpPr>
          <p:nvPr/>
        </p:nvCxnSpPr>
        <p:spPr>
          <a:xfrm>
            <a:off x="385763" y="1184461"/>
            <a:ext cx="11376025" cy="0"/>
          </a:xfrm>
          <a:prstGeom prst="line">
            <a:avLst/>
          </a:prstGeom>
          <a:ln w="38100">
            <a:solidFill>
              <a:srgbClr val="8383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文本框 6">
            <a:extLst>
              <a:ext uri="{FF2B5EF4-FFF2-40B4-BE49-F238E27FC236}">
                <a16:creationId xmlns:a16="http://schemas.microsoft.com/office/drawing/2014/main" id="{8A278907-8B1B-353D-DA1C-8AC530FE0E65}"/>
              </a:ext>
            </a:extLst>
          </p:cNvPr>
          <p:cNvSpPr txBox="1"/>
          <p:nvPr/>
        </p:nvSpPr>
        <p:spPr>
          <a:xfrm>
            <a:off x="304980" y="773916"/>
            <a:ext cx="11479031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1600" b="1" dirty="0">
                <a:solidFill>
                  <a:schemeClr val="accent1"/>
                </a:solidFill>
                <a:latin typeface="Arial"/>
                <a:cs typeface="Arial"/>
              </a:rPr>
              <a:t>Overview and key insights from the dataset at a glance </a:t>
            </a:r>
          </a:p>
        </p:txBody>
      </p:sp>
      <p:pic>
        <p:nvPicPr>
          <p:cNvPr id="35" name="Picture 34" descr="A colorful squares with white text&#10;&#10;Description automatically generated">
            <a:extLst>
              <a:ext uri="{FF2B5EF4-FFF2-40B4-BE49-F238E27FC236}">
                <a16:creationId xmlns:a16="http://schemas.microsoft.com/office/drawing/2014/main" id="{7FC84FCB-7BA4-A93B-8784-E11559A3D2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7975" y="1354138"/>
            <a:ext cx="6521450" cy="3197225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746B1D07-1037-0DD6-A915-BBA9DC6F004A}"/>
              </a:ext>
            </a:extLst>
          </p:cNvPr>
          <p:cNvSpPr txBox="1"/>
          <p:nvPr/>
        </p:nvSpPr>
        <p:spPr>
          <a:xfrm>
            <a:off x="7566041" y="1956601"/>
            <a:ext cx="3852356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latin typeface="Arial"/>
                <a:cs typeface="Arial"/>
              </a:rPr>
              <a:t>Physical Attributes of an Airbnb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F5851AF-CB74-CFCE-97F7-05D564A6ACB5}"/>
              </a:ext>
            </a:extLst>
          </p:cNvPr>
          <p:cNvSpPr txBox="1"/>
          <p:nvPr/>
        </p:nvSpPr>
        <p:spPr>
          <a:xfrm>
            <a:off x="205290" y="4551733"/>
            <a:ext cx="356102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latin typeface="Arial"/>
                <a:cs typeface="Arial"/>
              </a:rPr>
              <a:t>Other Important Variables</a:t>
            </a:r>
            <a:r>
              <a:rPr lang="en-US" b="1" dirty="0"/>
              <a:t>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51D05C6-5DA7-2AB6-28F7-040D2D6E5C33}"/>
              </a:ext>
            </a:extLst>
          </p:cNvPr>
          <p:cNvSpPr txBox="1"/>
          <p:nvPr/>
        </p:nvSpPr>
        <p:spPr>
          <a:xfrm>
            <a:off x="7031714" y="2471887"/>
            <a:ext cx="4919387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latin typeface="Arial"/>
                <a:ea typeface="+mn-lt"/>
                <a:cs typeface="+mn-lt"/>
              </a:rPr>
              <a:t>strong positive correlations between beds, bedrooms, and bathrooms, with price showing moderate relationships to property size metrics</a:t>
            </a:r>
            <a:endParaRPr lang="en-US">
              <a:latin typeface="Arial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68C602C-3674-0F70-7195-DF90A157B961}"/>
              </a:ext>
            </a:extLst>
          </p:cNvPr>
          <p:cNvSpPr txBox="1"/>
          <p:nvPr/>
        </p:nvSpPr>
        <p:spPr>
          <a:xfrm>
            <a:off x="139457" y="5010835"/>
            <a:ext cx="12133270" cy="203132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latin typeface="Arial"/>
                <a:ea typeface="+mn-lt"/>
                <a:cs typeface="+mn-lt"/>
              </a:rPr>
              <a:t>Location and </a:t>
            </a:r>
            <a:r>
              <a:rPr lang="en-US" b="1" err="1">
                <a:latin typeface="Arial"/>
                <a:ea typeface="+mn-lt"/>
                <a:cs typeface="+mn-lt"/>
              </a:rPr>
              <a:t>Neighbourhood</a:t>
            </a:r>
            <a:r>
              <a:rPr lang="en-US">
                <a:latin typeface="Arial"/>
                <a:ea typeface="+mn-lt"/>
                <a:cs typeface="+mn-lt"/>
              </a:rPr>
              <a:t> : How do </a:t>
            </a:r>
            <a:r>
              <a:rPr lang="en-US" err="1">
                <a:latin typeface="Arial"/>
                <a:ea typeface="+mn-lt"/>
                <a:cs typeface="+mn-lt"/>
              </a:rPr>
              <a:t>neighbourhood</a:t>
            </a:r>
            <a:r>
              <a:rPr lang="en-US">
                <a:latin typeface="Arial"/>
                <a:ea typeface="+mn-lt"/>
                <a:cs typeface="+mn-lt"/>
              </a:rPr>
              <a:t> characteristics and proximity to attractions influence property pricing and booking frequency?</a:t>
            </a:r>
            <a:endParaRPr lang="en-US">
              <a:latin typeface="Arial"/>
              <a:cs typeface="Arial"/>
            </a:endParaRPr>
          </a:p>
          <a:p>
            <a:r>
              <a:rPr lang="en-US" b="1">
                <a:latin typeface="Arial"/>
                <a:ea typeface="+mn-lt"/>
                <a:cs typeface="+mn-lt"/>
              </a:rPr>
              <a:t>Customer Ratings</a:t>
            </a:r>
            <a:r>
              <a:rPr lang="en-US">
                <a:latin typeface="Arial"/>
                <a:ea typeface="+mn-lt"/>
                <a:cs typeface="+mn-lt"/>
              </a:rPr>
              <a:t> : What patterns emerge in guest ratings, and how do different aspects of reviews correlate with booking success?</a:t>
            </a:r>
            <a:endParaRPr lang="en-US">
              <a:latin typeface="Arial"/>
              <a:cs typeface="Arial"/>
            </a:endParaRPr>
          </a:p>
          <a:p>
            <a:r>
              <a:rPr lang="en-US" b="1">
                <a:latin typeface="Arial"/>
                <a:ea typeface="+mn-lt"/>
                <a:cs typeface="+mn-lt"/>
              </a:rPr>
              <a:t>Host history and response time</a:t>
            </a:r>
            <a:r>
              <a:rPr lang="en-US">
                <a:latin typeface="Arial"/>
                <a:ea typeface="+mn-lt"/>
                <a:cs typeface="+mn-lt"/>
              </a:rPr>
              <a:t> : Does host experience and response speed significantly impact occupancy rates and guest satisfaction scores?</a:t>
            </a:r>
            <a:endParaRPr lang="en-US">
              <a:latin typeface="Arial"/>
            </a:endParaRPr>
          </a:p>
          <a:p>
            <a:pPr algn="l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6351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E50BB1-2745-A627-5DDA-656926B677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-61582"/>
            <a:ext cx="10770123" cy="963821"/>
          </a:xfrm>
        </p:spPr>
        <p:txBody>
          <a:bodyPr>
            <a:normAutofit/>
          </a:bodyPr>
          <a:lstStyle/>
          <a:p>
            <a:r>
              <a:rPr lang="en-GB" sz="2800" b="1" i="0" u="none" strike="noStrike">
                <a:solidFill>
                  <a:schemeClr val="tx2">
                    <a:lumMod val="76000"/>
                    <a:lumOff val="24000"/>
                  </a:schemeClr>
                </a:solidFill>
                <a:effectLst/>
                <a:latin typeface="Arial"/>
                <a:cs typeface="Arial"/>
              </a:rPr>
              <a:t>"Location, Location, Location": The Role of Neighbourhoods</a:t>
            </a:r>
            <a:endParaRPr lang="en-GB" sz="6000">
              <a:solidFill>
                <a:schemeClr val="tx2">
                  <a:lumMod val="76000"/>
                  <a:lumOff val="24000"/>
                </a:schemeClr>
              </a:solidFill>
              <a:latin typeface="Arial"/>
              <a:cs typeface="Arial"/>
            </a:endParaRPr>
          </a:p>
        </p:txBody>
      </p:sp>
      <p:cxnSp>
        <p:nvCxnSpPr>
          <p:cNvPr id="4" name="直接连接符 2">
            <a:extLst>
              <a:ext uri="{FF2B5EF4-FFF2-40B4-BE49-F238E27FC236}">
                <a16:creationId xmlns:a16="http://schemas.microsoft.com/office/drawing/2014/main" id="{D48BB6DE-1AA0-9563-E263-8B39E2241A9F}"/>
              </a:ext>
            </a:extLst>
          </p:cNvPr>
          <p:cNvCxnSpPr>
            <a:cxnSpLocks/>
          </p:cNvCxnSpPr>
          <p:nvPr/>
        </p:nvCxnSpPr>
        <p:spPr>
          <a:xfrm>
            <a:off x="407987" y="688286"/>
            <a:ext cx="11376025" cy="0"/>
          </a:xfrm>
          <a:prstGeom prst="line">
            <a:avLst/>
          </a:prstGeom>
          <a:ln w="38100">
            <a:solidFill>
              <a:srgbClr val="8383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F5D94D9B-EE67-16FC-D322-55BF620076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0184" y="872307"/>
            <a:ext cx="5474712" cy="296297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E86B0A4-5318-0E62-FCFB-5803EC5F2A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3269" y="862654"/>
            <a:ext cx="5545394" cy="3012212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8" name="Ink 7">
                <a:extLst>
                  <a:ext uri="{FF2B5EF4-FFF2-40B4-BE49-F238E27FC236}">
                    <a16:creationId xmlns:a16="http://schemas.microsoft.com/office/drawing/2014/main" id="{6AD99538-2784-C810-8BC3-5891F2951A74}"/>
                  </a:ext>
                </a:extLst>
              </p14:cNvPr>
              <p14:cNvContentPartPr/>
              <p14:nvPr/>
            </p14:nvContentPartPr>
            <p14:xfrm>
              <a:off x="12498818" y="2392535"/>
              <a:ext cx="13252" cy="13252"/>
            </p14:xfrm>
          </p:contentPart>
        </mc:Choice>
        <mc:Fallback xmlns="">
          <p:pic>
            <p:nvPicPr>
              <p:cNvPr id="8" name="Ink 7">
                <a:extLst>
                  <a:ext uri="{FF2B5EF4-FFF2-40B4-BE49-F238E27FC236}">
                    <a16:creationId xmlns:a16="http://schemas.microsoft.com/office/drawing/2014/main" id="{6AD99538-2784-C810-8BC3-5891F2951A74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2366298" y="1729935"/>
                <a:ext cx="275642" cy="1325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01C0452-5A97-E062-6815-3163B6DC5EFD}"/>
                  </a:ext>
                </a:extLst>
              </p14:cNvPr>
              <p14:cNvContentPartPr/>
              <p14:nvPr/>
            </p14:nvContentPartPr>
            <p14:xfrm>
              <a:off x="5218768" y="5799534"/>
              <a:ext cx="13252" cy="13252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01C0452-5A97-E062-6815-3163B6DC5EFD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556168" y="5136934"/>
                <a:ext cx="1325200" cy="1325200"/>
              </a:xfrm>
              <a:prstGeom prst="rect">
                <a:avLst/>
              </a:prstGeom>
            </p:spPr>
          </p:pic>
        </mc:Fallback>
      </mc:AlternateContent>
      <p:sp>
        <p:nvSpPr>
          <p:cNvPr id="3" name="TextBox 2">
            <a:extLst>
              <a:ext uri="{FF2B5EF4-FFF2-40B4-BE49-F238E27FC236}">
                <a16:creationId xmlns:a16="http://schemas.microsoft.com/office/drawing/2014/main" id="{FC118060-4093-C5B3-BAFA-B118448FD3BA}"/>
              </a:ext>
            </a:extLst>
          </p:cNvPr>
          <p:cNvSpPr txBox="1"/>
          <p:nvPr/>
        </p:nvSpPr>
        <p:spPr>
          <a:xfrm>
            <a:off x="305466" y="3996935"/>
            <a:ext cx="5461000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1F5C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S</a:t>
            </a:r>
          </a:p>
          <a:p>
            <a:endParaRPr lang="en-US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Beachfront areas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(e.g., </a:t>
            </a: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Rancho Palos Verdes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Malibu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) command </a:t>
            </a: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premium prices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due to their </a:t>
            </a: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desirability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exclusivity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Urban luxury </a:t>
            </a:r>
            <a:r>
              <a:rPr lang="en-GB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neighborhoods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like </a:t>
            </a: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Beverly Hills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Bel-Air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achieve competitive </a:t>
            </a: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mid-tier pricing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without direct coastal access, likely driven by </a:t>
            </a: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prestige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amenities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Southeast Antelope Valley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offers the </a:t>
            </a: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lowest average nightly price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, positioning it as a </a:t>
            </a: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value-oriented option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直接连接符 2">
            <a:extLst>
              <a:ext uri="{FF2B5EF4-FFF2-40B4-BE49-F238E27FC236}">
                <a16:creationId xmlns:a16="http://schemas.microsoft.com/office/drawing/2014/main" id="{EBAE01B2-E4E1-ED2D-ABE2-652F9767CDE2}"/>
              </a:ext>
            </a:extLst>
          </p:cNvPr>
          <p:cNvCxnSpPr>
            <a:cxnSpLocks/>
          </p:cNvCxnSpPr>
          <p:nvPr/>
        </p:nvCxnSpPr>
        <p:spPr>
          <a:xfrm>
            <a:off x="407987" y="4345886"/>
            <a:ext cx="5358479" cy="22365"/>
          </a:xfrm>
          <a:prstGeom prst="line">
            <a:avLst/>
          </a:prstGeom>
          <a:ln w="38100">
            <a:solidFill>
              <a:srgbClr val="8383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6BD25AFD-C0E3-3FE2-B4DE-26649F76E833}"/>
              </a:ext>
            </a:extLst>
          </p:cNvPr>
          <p:cNvSpPr txBox="1"/>
          <p:nvPr/>
        </p:nvSpPr>
        <p:spPr>
          <a:xfrm>
            <a:off x="6280184" y="4019300"/>
            <a:ext cx="5461000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1F5C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ICATIONS</a:t>
            </a:r>
          </a:p>
          <a:p>
            <a:endParaRPr lang="en-US" dirty="0"/>
          </a:p>
          <a:p>
            <a:pPr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Maximize revenue in </a:t>
            </a: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beachfront markets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by targeting </a:t>
            </a: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luxury </a:t>
            </a:r>
            <a:r>
              <a:rPr lang="en-GB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travelers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and emphasizing </a:t>
            </a: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exclusivity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Focus marketing efforts on </a:t>
            </a: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urban luxury areas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to attract guests seeking </a:t>
            </a: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premium experiences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without beachfront access.</a:t>
            </a:r>
          </a:p>
          <a:p>
            <a:pPr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Promote </a:t>
            </a: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budget-friendly destinations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like </a:t>
            </a: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Southeast Antelope Valley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as ideal for </a:t>
            </a: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long-term stays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or </a:t>
            </a: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cost-conscious travellers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cxnSp>
        <p:nvCxnSpPr>
          <p:cNvPr id="12" name="直接连接符 2">
            <a:extLst>
              <a:ext uri="{FF2B5EF4-FFF2-40B4-BE49-F238E27FC236}">
                <a16:creationId xmlns:a16="http://schemas.microsoft.com/office/drawing/2014/main" id="{104CDD81-DB41-64C4-8FE7-B3D63285D0DB}"/>
              </a:ext>
            </a:extLst>
          </p:cNvPr>
          <p:cNvCxnSpPr>
            <a:cxnSpLocks/>
          </p:cNvCxnSpPr>
          <p:nvPr/>
        </p:nvCxnSpPr>
        <p:spPr>
          <a:xfrm>
            <a:off x="6382705" y="4368251"/>
            <a:ext cx="5358479" cy="0"/>
          </a:xfrm>
          <a:prstGeom prst="line">
            <a:avLst/>
          </a:prstGeom>
          <a:ln w="38100">
            <a:solidFill>
              <a:srgbClr val="8383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7874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11B2B030-4738-4359-9E46-144B7C8BFF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117" y="8300"/>
            <a:ext cx="12193117" cy="6849700"/>
          </a:xfrm>
          <a:prstGeom prst="rect">
            <a:avLst/>
          </a:prstGeom>
          <a:solidFill>
            <a:schemeClr val="bg2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 useBgFill="1">
        <p:nvSpPr>
          <p:cNvPr id="26" name="Rectangle 25">
            <a:extLst>
              <a:ext uri="{FF2B5EF4-FFF2-40B4-BE49-F238E27FC236}">
                <a16:creationId xmlns:a16="http://schemas.microsoft.com/office/drawing/2014/main" id="{E722B2DD-E14D-4972-9D98-5D6E61B1B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1144310" cy="685800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B0C2C679-3301-9514-7583-73A2AB784D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4AE85BE-8754-F5C0-7F23-3E5E38C4EC67}"/>
              </a:ext>
            </a:extLst>
          </p:cNvPr>
          <p:cNvSpPr txBox="1"/>
          <p:nvPr/>
        </p:nvSpPr>
        <p:spPr>
          <a:xfrm>
            <a:off x="7739267" y="132522"/>
            <a:ext cx="4227445" cy="686341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dirty="0">
                <a:solidFill>
                  <a:srgbClr val="C25115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Density Trends: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• </a:t>
            </a:r>
            <a:r>
              <a:rPr lang="en-US" sz="1400" b="1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Popular</a:t>
            </a: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</a:t>
            </a:r>
            <a:r>
              <a:rPr lang="en-US" sz="1400" b="1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neighborhoods</a:t>
            </a: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like Hollywood, Venice Beach, and Downtown Los Angeles have the </a:t>
            </a:r>
            <a:r>
              <a:rPr lang="en-US" sz="1400" b="1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highest density </a:t>
            </a: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of Airbnb listings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• </a:t>
            </a:r>
            <a:r>
              <a:rPr lang="en-US" sz="1400" b="1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Coastal areas </a:t>
            </a: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(e.g., Santa Monica and Venice) see a </a:t>
            </a:r>
            <a:r>
              <a:rPr lang="en-US" sz="1400" b="1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clustering of premium listing</a:t>
            </a: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s, likely due to their scenic views and tourist attractions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dirty="0"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r>
              <a:rPr lang="en-US" sz="1400" b="1" dirty="0">
                <a:solidFill>
                  <a:srgbClr val="C25115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Neighborhood Popularity: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• </a:t>
            </a:r>
            <a:r>
              <a:rPr lang="en-US" sz="1400" b="1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Hollywood</a:t>
            </a: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listings account for approximately </a:t>
            </a:r>
            <a:r>
              <a:rPr lang="en-US" sz="1400" b="1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15% of the total Airbnb properties </a:t>
            </a: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in LA, driven by its iconic landmarks and nightlife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• Suburban areas like Pasadena and Sherman Oaks show fewer listings but </a:t>
            </a:r>
            <a:r>
              <a:rPr lang="en-US" sz="1400" b="1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higher guest satisfaction</a:t>
            </a: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ratings, appealing to travelers seeking tranquility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b="1" dirty="0">
                <a:solidFill>
                  <a:srgbClr val="C25115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Insights: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• Hosts in high-density areas should </a:t>
            </a:r>
            <a:r>
              <a:rPr lang="en-US" sz="1400" b="1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focus</a:t>
            </a: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on </a:t>
            </a:r>
            <a:r>
              <a:rPr lang="en-US" sz="1400" b="1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differentiation</a:t>
            </a: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(e.g., unique themes, personalized services) to stand out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• </a:t>
            </a:r>
            <a:r>
              <a:rPr lang="en-US" sz="1400" b="1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Less saturated </a:t>
            </a: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neighborhoods offer opportunities for </a:t>
            </a:r>
            <a:r>
              <a:rPr lang="en-US" sz="1400" b="1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new hosts to enter the market</a:t>
            </a: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, especially if they target niche audiences such as families or remote workers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600" dirty="0">
              <a:latin typeface="Aptos Display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31ED633-EF58-4CEB-AED2-1896AEB9C486}"/>
              </a:ext>
            </a:extLst>
          </p:cNvPr>
          <p:cNvSpPr txBox="1"/>
          <p:nvPr/>
        </p:nvSpPr>
        <p:spPr>
          <a:xfrm>
            <a:off x="357808" y="5446643"/>
            <a:ext cx="7023652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solidFill>
                  <a:schemeClr val="accent2">
                    <a:lumMod val="76000"/>
                  </a:scheme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Hollywood Boulevard is a magnet for Airbnb guests, with some properties marketing their proximity to the Walk of Fame. One listing even highlights being “steps away from Brad Pitt’s star”!</a:t>
            </a:r>
            <a:endParaRPr lang="en-US" dirty="0">
              <a:solidFill>
                <a:schemeClr val="accent2">
                  <a:lumMod val="76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US" dirty="0">
              <a:solidFill>
                <a:srgbClr val="7030A0"/>
              </a:solidFill>
            </a:endParaRPr>
          </a:p>
        </p:txBody>
      </p:sp>
      <p:sp>
        <p:nvSpPr>
          <p:cNvPr id="19" name="Rectangle: Diagonal Corners Snipped 18">
            <a:extLst>
              <a:ext uri="{FF2B5EF4-FFF2-40B4-BE49-F238E27FC236}">
                <a16:creationId xmlns:a16="http://schemas.microsoft.com/office/drawing/2014/main" id="{4B7911D2-A522-C1EF-CE62-CA4CF5226769}"/>
              </a:ext>
            </a:extLst>
          </p:cNvPr>
          <p:cNvSpPr/>
          <p:nvPr/>
        </p:nvSpPr>
        <p:spPr>
          <a:xfrm>
            <a:off x="145773" y="5300869"/>
            <a:ext cx="7447721" cy="1200329"/>
          </a:xfrm>
          <a:prstGeom prst="snip2Diag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8D47DD08-8D2D-324B-60B2-89FEC1BCA29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rcRect b="1628"/>
          <a:stretch/>
        </p:blipFill>
        <p:spPr>
          <a:xfrm>
            <a:off x="20" y="556601"/>
            <a:ext cx="7619981" cy="430862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B36DF8C7-B391-EB4B-A37A-3E6DFA184CCD}"/>
              </a:ext>
            </a:extLst>
          </p:cNvPr>
          <p:cNvSpPr txBox="1"/>
          <p:nvPr/>
        </p:nvSpPr>
        <p:spPr>
          <a:xfrm>
            <a:off x="0" y="64719"/>
            <a:ext cx="8269356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 baseline="0" dirty="0">
                <a:solidFill>
                  <a:schemeClr val="accent2">
                    <a:lumMod val="76000"/>
                  </a:schemeClr>
                </a:solidFill>
                <a:latin typeface="Aptos"/>
              </a:rPr>
              <a:t>Interactive Map: </a:t>
            </a:r>
            <a:r>
              <a:rPr lang="en-US" sz="2000" b="1" dirty="0">
                <a:solidFill>
                  <a:schemeClr val="accent2">
                    <a:lumMod val="76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2000" b="1" baseline="0" dirty="0">
                <a:solidFill>
                  <a:schemeClr val="accent2">
                    <a:lumMod val="76000"/>
                  </a:schemeClr>
                </a:solidFill>
                <a:ea typeface="+mn-lt"/>
                <a:cs typeface="+mn-lt"/>
              </a:rPr>
              <a:t>Airbnb Listings in LA Neighborhoods</a:t>
            </a:r>
            <a:endParaRPr lang="en-US" dirty="0">
              <a:solidFill>
                <a:schemeClr val="accent2">
                  <a:lumMod val="76000"/>
                </a:schemeClr>
              </a:solidFill>
              <a:ea typeface="+mn-lt"/>
              <a:cs typeface="+mn-lt"/>
            </a:endParaRPr>
          </a:p>
          <a:p>
            <a:pPr algn="l"/>
            <a:endParaRPr lang="en-US" sz="2000" b="1" dirty="0">
              <a:solidFill>
                <a:schemeClr val="accent2">
                  <a:lumMod val="76000"/>
                </a:schemeClr>
              </a:solidFill>
            </a:endParaRPr>
          </a:p>
        </p:txBody>
      </p:sp>
      <p:cxnSp>
        <p:nvCxnSpPr>
          <p:cNvPr id="2" name="直接连接符 2">
            <a:extLst>
              <a:ext uri="{FF2B5EF4-FFF2-40B4-BE49-F238E27FC236}">
                <a16:creationId xmlns:a16="http://schemas.microsoft.com/office/drawing/2014/main" id="{D1D074B2-812B-0B41-D370-B9B60A090D0C}"/>
              </a:ext>
            </a:extLst>
          </p:cNvPr>
          <p:cNvCxnSpPr>
            <a:cxnSpLocks/>
          </p:cNvCxnSpPr>
          <p:nvPr/>
        </p:nvCxnSpPr>
        <p:spPr>
          <a:xfrm>
            <a:off x="7811593" y="470966"/>
            <a:ext cx="4008233" cy="0"/>
          </a:xfrm>
          <a:prstGeom prst="line">
            <a:avLst/>
          </a:prstGeom>
          <a:ln w="38100">
            <a:solidFill>
              <a:srgbClr val="C2511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直接连接符 2">
            <a:extLst>
              <a:ext uri="{FF2B5EF4-FFF2-40B4-BE49-F238E27FC236}">
                <a16:creationId xmlns:a16="http://schemas.microsoft.com/office/drawing/2014/main" id="{8080A513-E03B-43B1-9BC5-08FFE6E706BB}"/>
              </a:ext>
            </a:extLst>
          </p:cNvPr>
          <p:cNvCxnSpPr>
            <a:cxnSpLocks/>
          </p:cNvCxnSpPr>
          <p:nvPr/>
        </p:nvCxnSpPr>
        <p:spPr>
          <a:xfrm>
            <a:off x="7811593" y="2543865"/>
            <a:ext cx="4008233" cy="0"/>
          </a:xfrm>
          <a:prstGeom prst="line">
            <a:avLst/>
          </a:prstGeom>
          <a:ln w="38100">
            <a:solidFill>
              <a:srgbClr val="C2511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接连接符 2">
            <a:extLst>
              <a:ext uri="{FF2B5EF4-FFF2-40B4-BE49-F238E27FC236}">
                <a16:creationId xmlns:a16="http://schemas.microsoft.com/office/drawing/2014/main" id="{CC5926D1-70A0-62DD-24DA-41BC404D2D7D}"/>
              </a:ext>
            </a:extLst>
          </p:cNvPr>
          <p:cNvCxnSpPr>
            <a:cxnSpLocks/>
          </p:cNvCxnSpPr>
          <p:nvPr/>
        </p:nvCxnSpPr>
        <p:spPr>
          <a:xfrm>
            <a:off x="7811593" y="4871331"/>
            <a:ext cx="4008233" cy="0"/>
          </a:xfrm>
          <a:prstGeom prst="line">
            <a:avLst/>
          </a:prstGeom>
          <a:ln w="38100">
            <a:solidFill>
              <a:srgbClr val="C2511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74832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E2BA2BD9-7B54-4190-8F06-3EF3658A00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3A7A23EF-BD7D-915B-4C96-434A0BE015E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 b="1316"/>
          <a:stretch/>
        </p:blipFill>
        <p:spPr>
          <a:xfrm>
            <a:off x="20" y="609610"/>
            <a:ext cx="7739250" cy="4353328"/>
          </a:xfrm>
          <a:prstGeom prst="rect">
            <a:avLst/>
          </a:prstGeom>
          <a:effectLst>
            <a:outerShdw blurRad="596900" dist="330200" dir="8820000" sx="87000" sy="87000" algn="ctr" rotWithShape="0">
              <a:srgbClr val="000000">
                <a:alpha val="29000"/>
              </a:srgbClr>
            </a:outerShdw>
          </a:effec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6B79647-53B8-B459-31B0-115DAE85ED24}"/>
              </a:ext>
            </a:extLst>
          </p:cNvPr>
          <p:cNvSpPr txBox="1"/>
          <p:nvPr/>
        </p:nvSpPr>
        <p:spPr>
          <a:xfrm>
            <a:off x="7898295" y="132522"/>
            <a:ext cx="4068417" cy="720197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dirty="0">
                <a:solidFill>
                  <a:srgbClr val="0070C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Price Clusters:</a:t>
            </a:r>
          </a:p>
          <a:p>
            <a:endParaRPr lang="en-US" sz="1600" dirty="0"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• High-end neighborhoods like </a:t>
            </a:r>
            <a:r>
              <a:rPr lang="en-US" sz="1400" b="1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Beverly Hills </a:t>
            </a: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and </a:t>
            </a:r>
            <a:r>
              <a:rPr lang="en-US" sz="1400" b="1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Malibu</a:t>
            </a: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have the </a:t>
            </a:r>
            <a:r>
              <a:rPr lang="en-US" sz="1400" b="1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most expensive </a:t>
            </a: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average nightly rates, often exceeding $500</a:t>
            </a:r>
            <a:endParaRPr lang="en-US" sz="1600" dirty="0"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• More </a:t>
            </a:r>
            <a:r>
              <a:rPr lang="en-US" sz="1400" b="1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budget-friendly</a:t>
            </a: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options are clustered around </a:t>
            </a:r>
            <a:r>
              <a:rPr lang="en-US" sz="1400" b="1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Downtown LA and Koreatown</a:t>
            </a: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, with average prices ranging between $100 and $150</a:t>
            </a:r>
            <a:endParaRPr lang="en-US" sz="1600" dirty="0"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endParaRPr lang="en-US" sz="1400" dirty="0"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r>
              <a:rPr lang="en-US" sz="1400" b="1" dirty="0">
                <a:solidFill>
                  <a:srgbClr val="0070C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Price Variance:</a:t>
            </a:r>
          </a:p>
          <a:p>
            <a:endParaRPr lang="en-US" sz="1600" dirty="0"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• </a:t>
            </a:r>
            <a:r>
              <a:rPr lang="en-US" sz="1400" b="1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Coastal</a:t>
            </a: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properties command a </a:t>
            </a:r>
            <a:r>
              <a:rPr lang="en-US" sz="1400" b="1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premium</a:t>
            </a: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due to their views and proximity to beaches, with Venice Beach averaging $250 per night</a:t>
            </a:r>
            <a:endParaRPr lang="en-US" sz="1600" dirty="0"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• Inland neighborhoods with cultural attractions (e.g., Echo Park, Silver Lake) offer </a:t>
            </a:r>
            <a:r>
              <a:rPr lang="en-US" sz="1400" b="1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competitive pricing </a:t>
            </a: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while still maintaining strong occupancy rates</a:t>
            </a:r>
            <a:b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b="1" dirty="0">
                <a:solidFill>
                  <a:srgbClr val="0070C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Insights:</a:t>
            </a:r>
          </a:p>
          <a:p>
            <a:endParaRPr lang="en-US" sz="1600" dirty="0"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• Pricing </a:t>
            </a:r>
            <a:r>
              <a:rPr lang="en-US" sz="1400" b="1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optimization</a:t>
            </a: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should consider </a:t>
            </a:r>
            <a:r>
              <a:rPr lang="en-US" sz="1400" b="1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proximity</a:t>
            </a: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to attractions, competition within the neighborhood, and seasonality</a:t>
            </a:r>
            <a:endParaRPr lang="en-US" sz="1600" dirty="0"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• Budget-conscious travelers can find </a:t>
            </a:r>
            <a:r>
              <a:rPr lang="en-US" sz="1400" b="1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great deals in emerging neighborhoods </a:t>
            </a:r>
            <a:r>
              <a:rPr lang="en-US" sz="14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like Highland Park, which combines affordability with trendy cultural spots</a:t>
            </a:r>
            <a:endParaRPr lang="en-US" sz="1600" dirty="0"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endParaRPr lang="en-US" sz="1600" b="1" dirty="0">
              <a:latin typeface="Aptos Display"/>
            </a:endParaRPr>
          </a:p>
          <a:p>
            <a:endParaRPr lang="en-US" sz="1600" dirty="0">
              <a:latin typeface="Aptos Display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2C6EC15-5C8A-640F-49FD-6096788B3FEC}"/>
              </a:ext>
            </a:extLst>
          </p:cNvPr>
          <p:cNvSpPr txBox="1"/>
          <p:nvPr/>
        </p:nvSpPr>
        <p:spPr>
          <a:xfrm>
            <a:off x="145773" y="5440026"/>
            <a:ext cx="7381462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0070C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The most expensive locations are typically beachfront, with a notable exception of Beverly Hills. Notice that a lot of central neighborhoods with high density listings are actually quite cheap! </a:t>
            </a:r>
            <a:endParaRPr lang="en-US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solidFill>
                <a:srgbClr val="7030A0"/>
              </a:solidFill>
              <a:latin typeface="Comic Sans MS"/>
            </a:endParaRPr>
          </a:p>
          <a:p>
            <a:pPr algn="l"/>
            <a:endParaRPr lang="en-US" dirty="0">
              <a:solidFill>
                <a:srgbClr val="7030A0"/>
              </a:solidFill>
            </a:endParaRPr>
          </a:p>
        </p:txBody>
      </p:sp>
      <p:sp>
        <p:nvSpPr>
          <p:cNvPr id="6" name="Rectangle: Diagonal Corners Snipped 5">
            <a:extLst>
              <a:ext uri="{FF2B5EF4-FFF2-40B4-BE49-F238E27FC236}">
                <a16:creationId xmlns:a16="http://schemas.microsoft.com/office/drawing/2014/main" id="{70F54DDE-3FCA-0C34-33DD-6B1C4B37213B}"/>
              </a:ext>
            </a:extLst>
          </p:cNvPr>
          <p:cNvSpPr/>
          <p:nvPr/>
        </p:nvSpPr>
        <p:spPr>
          <a:xfrm>
            <a:off x="145773" y="5300869"/>
            <a:ext cx="7447721" cy="1226931"/>
          </a:xfrm>
          <a:prstGeom prst="snip2Diag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0DD5E5E-1B7E-1FDB-10C4-3633512F10E6}"/>
              </a:ext>
            </a:extLst>
          </p:cNvPr>
          <p:cNvSpPr txBox="1"/>
          <p:nvPr/>
        </p:nvSpPr>
        <p:spPr>
          <a:xfrm>
            <a:off x="-1" y="132522"/>
            <a:ext cx="8136833" cy="67710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>
                <a:solidFill>
                  <a:srgbClr val="0070C0"/>
                </a:solidFill>
                <a:ea typeface="+mn-lt"/>
                <a:cs typeface="+mn-lt"/>
              </a:rPr>
              <a:t>Interactive Map: Average Nightly Airbnb Prices in LA Neighborhoods</a:t>
            </a:r>
            <a:endParaRPr lang="en-US" sz="2000">
              <a:solidFill>
                <a:srgbClr val="0070C0"/>
              </a:solidFill>
            </a:endParaRPr>
          </a:p>
          <a:p>
            <a:pPr algn="l"/>
            <a:endParaRPr lang="en-US"/>
          </a:p>
        </p:txBody>
      </p:sp>
      <p:cxnSp>
        <p:nvCxnSpPr>
          <p:cNvPr id="2" name="直接连接符 2">
            <a:extLst>
              <a:ext uri="{FF2B5EF4-FFF2-40B4-BE49-F238E27FC236}">
                <a16:creationId xmlns:a16="http://schemas.microsoft.com/office/drawing/2014/main" id="{1A8FBEC9-91F3-EBB8-A264-43AE190C7BF7}"/>
              </a:ext>
            </a:extLst>
          </p:cNvPr>
          <p:cNvCxnSpPr>
            <a:cxnSpLocks/>
          </p:cNvCxnSpPr>
          <p:nvPr/>
        </p:nvCxnSpPr>
        <p:spPr>
          <a:xfrm>
            <a:off x="7958479" y="499165"/>
            <a:ext cx="4008233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直接连接符 2">
            <a:extLst>
              <a:ext uri="{FF2B5EF4-FFF2-40B4-BE49-F238E27FC236}">
                <a16:creationId xmlns:a16="http://schemas.microsoft.com/office/drawing/2014/main" id="{4A234E95-C316-8C18-926A-7612E0DCB432}"/>
              </a:ext>
            </a:extLst>
          </p:cNvPr>
          <p:cNvCxnSpPr>
            <a:cxnSpLocks/>
          </p:cNvCxnSpPr>
          <p:nvPr/>
        </p:nvCxnSpPr>
        <p:spPr>
          <a:xfrm>
            <a:off x="7958479" y="2581965"/>
            <a:ext cx="4008233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2">
            <a:extLst>
              <a:ext uri="{FF2B5EF4-FFF2-40B4-BE49-F238E27FC236}">
                <a16:creationId xmlns:a16="http://schemas.microsoft.com/office/drawing/2014/main" id="{226D463F-67AA-253D-5D78-06543708CF8A}"/>
              </a:ext>
            </a:extLst>
          </p:cNvPr>
          <p:cNvCxnSpPr>
            <a:cxnSpLocks/>
          </p:cNvCxnSpPr>
          <p:nvPr/>
        </p:nvCxnSpPr>
        <p:spPr>
          <a:xfrm>
            <a:off x="7958479" y="4948777"/>
            <a:ext cx="4008233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243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EF9DD9-4499-DDD8-D96A-B70BCF21FE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558B52-6211-50A2-D138-6D4D448C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-61582"/>
            <a:ext cx="10770123" cy="963821"/>
          </a:xfrm>
        </p:spPr>
        <p:txBody>
          <a:bodyPr>
            <a:normAutofit/>
          </a:bodyPr>
          <a:lstStyle/>
          <a:p>
            <a:r>
              <a:rPr lang="en-GB" sz="28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"Host with the Most": The Impact of Host Behaviour</a:t>
            </a:r>
          </a:p>
        </p:txBody>
      </p:sp>
      <p:cxnSp>
        <p:nvCxnSpPr>
          <p:cNvPr id="4" name="直接连接符 2">
            <a:extLst>
              <a:ext uri="{FF2B5EF4-FFF2-40B4-BE49-F238E27FC236}">
                <a16:creationId xmlns:a16="http://schemas.microsoft.com/office/drawing/2014/main" id="{BE1B2846-C2F8-ABD6-477F-6ABC3D320357}"/>
              </a:ext>
            </a:extLst>
          </p:cNvPr>
          <p:cNvCxnSpPr>
            <a:cxnSpLocks/>
          </p:cNvCxnSpPr>
          <p:nvPr/>
        </p:nvCxnSpPr>
        <p:spPr>
          <a:xfrm>
            <a:off x="407987" y="688286"/>
            <a:ext cx="11376025" cy="0"/>
          </a:xfrm>
          <a:prstGeom prst="line">
            <a:avLst/>
          </a:prstGeom>
          <a:ln w="38100">
            <a:solidFill>
              <a:srgbClr val="8383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Content Placeholder 4">
            <a:extLst>
              <a:ext uri="{FF2B5EF4-FFF2-40B4-BE49-F238E27FC236}">
                <a16:creationId xmlns:a16="http://schemas.microsoft.com/office/drawing/2014/main" id="{3995537A-03B2-5D2B-DEC2-B2BDA5C6A2E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07988" y="902239"/>
            <a:ext cx="4817156" cy="3064339"/>
          </a:xfr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099E32A-1918-847B-C4D0-F5CB624B44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19310" y="905061"/>
            <a:ext cx="6021189" cy="306352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9C61FD3-BFFA-E7EF-0CC2-7F347B93100D}"/>
              </a:ext>
            </a:extLst>
          </p:cNvPr>
          <p:cNvSpPr txBox="1"/>
          <p:nvPr/>
        </p:nvSpPr>
        <p:spPr>
          <a:xfrm>
            <a:off x="5793048" y="4333589"/>
            <a:ext cx="6006210" cy="209288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st response times </a:t>
            </a:r>
            <a:r>
              <a:rPr lang="en-GB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nal reliability</a:t>
            </a:r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GB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 guest satisfaction</a:t>
            </a:r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ncouraging repeat bookings and positive reviews.</a:t>
            </a:r>
          </a:p>
          <a:p>
            <a:endParaRPr lang="en-GB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th </a:t>
            </a:r>
            <a:r>
              <a:rPr lang="en-GB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tative (violin plot)</a:t>
            </a:r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GB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ntitative (trend analysis)</a:t>
            </a:r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sights underscore the link between responsiveness and guest experience.</a:t>
            </a:r>
          </a:p>
          <a:p>
            <a:endParaRPr lang="en-GB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EC668A3-BB23-1C2F-88D1-D1C7B14C9FF6}"/>
              </a:ext>
            </a:extLst>
          </p:cNvPr>
          <p:cNvSpPr txBox="1"/>
          <p:nvPr/>
        </p:nvSpPr>
        <p:spPr>
          <a:xfrm>
            <a:off x="464172" y="4555378"/>
            <a:ext cx="4704787" cy="1400383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ts responding </a:t>
            </a:r>
            <a:r>
              <a:rPr lang="en-GB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within a few hours" </a:t>
            </a:r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hieve the highest average review score of 4.8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en-GB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-day delay</a:t>
            </a:r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ads to a </a:t>
            </a:r>
            <a:r>
              <a:rPr lang="en-GB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iceable drop to 4.77</a:t>
            </a:r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while responding "a few days or more" further decreases the score to 4.61.</a:t>
            </a:r>
          </a:p>
        </p:txBody>
      </p:sp>
      <p:cxnSp>
        <p:nvCxnSpPr>
          <p:cNvPr id="5" name="直接连接符 2">
            <a:extLst>
              <a:ext uri="{FF2B5EF4-FFF2-40B4-BE49-F238E27FC236}">
                <a16:creationId xmlns:a16="http://schemas.microsoft.com/office/drawing/2014/main" id="{2C365107-34A7-974E-3D53-FFA76856B651}"/>
              </a:ext>
            </a:extLst>
          </p:cNvPr>
          <p:cNvCxnSpPr>
            <a:cxnSpLocks/>
          </p:cNvCxnSpPr>
          <p:nvPr/>
        </p:nvCxnSpPr>
        <p:spPr>
          <a:xfrm flipH="1">
            <a:off x="407987" y="4151086"/>
            <a:ext cx="11232512" cy="0"/>
          </a:xfrm>
          <a:prstGeom prst="line">
            <a:avLst/>
          </a:prstGeom>
          <a:ln w="38100">
            <a:solidFill>
              <a:srgbClr val="8383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49266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1F76E6C4-9350-BC32-2C7E-5C4F3497559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rcRect b="900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38C6CCA-2322-8C0E-ECE1-3E9919B68ACE}"/>
              </a:ext>
            </a:extLst>
          </p:cNvPr>
          <p:cNvSpPr txBox="1"/>
          <p:nvPr/>
        </p:nvSpPr>
        <p:spPr>
          <a:xfrm>
            <a:off x="203200" y="3429000"/>
            <a:ext cx="4513943" cy="3477875"/>
          </a:xfrm>
          <a:prstGeom prst="rect">
            <a:avLst/>
          </a:prstGeom>
          <a:solidFill>
            <a:schemeClr val="bg1"/>
          </a:solidFill>
          <a:effectLst>
            <a:softEdge rad="0"/>
          </a:effectLst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</a:t>
            </a:r>
            <a:r>
              <a:rPr lang="en-GB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rbnb </a:t>
            </a:r>
            <a:r>
              <a:rPr lang="en-GB" sz="1400" b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erhost</a:t>
            </a:r>
            <a:r>
              <a:rPr lang="en-GB" sz="1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s a designation awarded to hosts who consistently provide exceptional hospitality and meets the following criteria</a:t>
            </a:r>
          </a:p>
          <a:p>
            <a:endParaRPr lang="en-GB" sz="14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ratings</a:t>
            </a:r>
            <a:r>
              <a:rPr lang="en-GB" sz="1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Maintain an average rating of at least </a:t>
            </a:r>
            <a:r>
              <a:rPr lang="en-GB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8 stars</a:t>
            </a:r>
            <a:r>
              <a:rPr lang="en-GB" sz="1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ased on guest reviews.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 cancellation rates</a:t>
            </a:r>
            <a:r>
              <a:rPr lang="en-GB" sz="1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Less than </a:t>
            </a:r>
            <a:r>
              <a:rPr lang="en-GB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% cancellation rate</a:t>
            </a:r>
            <a:r>
              <a:rPr lang="en-GB" sz="1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thout valid reasons.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responsiveness</a:t>
            </a:r>
            <a:r>
              <a:rPr lang="en-GB" sz="1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Respond to </a:t>
            </a:r>
            <a:r>
              <a:rPr lang="en-GB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0% or more of guest messages</a:t>
            </a:r>
            <a:r>
              <a:rPr lang="en-GB" sz="1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thin 24 hours.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mum hosting activity</a:t>
            </a:r>
            <a:r>
              <a:rPr lang="en-GB" sz="1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Complete at least </a:t>
            </a:r>
            <a:r>
              <a:rPr lang="en-GB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stays</a:t>
            </a:r>
            <a:r>
              <a:rPr lang="en-GB" sz="1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r 3 reservations with a total of at least 100 nights in the past year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80012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22325B-D240-8B7E-3FA4-02A890771E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2CC87F-A788-60B8-2A54-A0A202D62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-61582"/>
            <a:ext cx="10770123" cy="963821"/>
          </a:xfrm>
        </p:spPr>
        <p:txBody>
          <a:bodyPr>
            <a:normAutofit/>
          </a:bodyPr>
          <a:lstStyle/>
          <a:p>
            <a:r>
              <a:rPr lang="en-GB" sz="2800" b="1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"Host with the Most": The Impact of Host Behaviour</a:t>
            </a:r>
          </a:p>
        </p:txBody>
      </p:sp>
      <p:cxnSp>
        <p:nvCxnSpPr>
          <p:cNvPr id="4" name="直接连接符 2">
            <a:extLst>
              <a:ext uri="{FF2B5EF4-FFF2-40B4-BE49-F238E27FC236}">
                <a16:creationId xmlns:a16="http://schemas.microsoft.com/office/drawing/2014/main" id="{ECB5CE7A-9540-BC57-2C0E-E381A8B36852}"/>
              </a:ext>
            </a:extLst>
          </p:cNvPr>
          <p:cNvCxnSpPr>
            <a:cxnSpLocks/>
          </p:cNvCxnSpPr>
          <p:nvPr/>
        </p:nvCxnSpPr>
        <p:spPr>
          <a:xfrm>
            <a:off x="407987" y="1134468"/>
            <a:ext cx="11376025" cy="0"/>
          </a:xfrm>
          <a:prstGeom prst="line">
            <a:avLst/>
          </a:prstGeom>
          <a:ln w="38100">
            <a:solidFill>
              <a:srgbClr val="8383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956A4E2D-9506-4765-E3EE-C365AAA1C638}"/>
              </a:ext>
            </a:extLst>
          </p:cNvPr>
          <p:cNvSpPr txBox="1">
            <a:spLocks/>
          </p:cNvSpPr>
          <p:nvPr/>
        </p:nvSpPr>
        <p:spPr>
          <a:xfrm>
            <a:off x="545874" y="420328"/>
            <a:ext cx="3779384" cy="963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000" b="1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Analyzing</a:t>
            </a:r>
            <a:r>
              <a:rPr lang="en-GB" sz="2000" b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en-GB" sz="2000" b="1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Superhost</a:t>
            </a:r>
            <a:r>
              <a:rPr lang="en-GB" sz="2000" b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Trends</a:t>
            </a:r>
          </a:p>
        </p:txBody>
      </p:sp>
      <p:pic>
        <p:nvPicPr>
          <p:cNvPr id="11" name="Content Placeholder 4">
            <a:extLst>
              <a:ext uri="{FF2B5EF4-FFF2-40B4-BE49-F238E27FC236}">
                <a16:creationId xmlns:a16="http://schemas.microsoft.com/office/drawing/2014/main" id="{F8C471F5-4544-C655-BA77-3DEFB97BE27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85138" y="1813677"/>
            <a:ext cx="6416363" cy="3460684"/>
          </a:xfr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424228F-6756-B6D9-C950-EEA901962A5C}"/>
              </a:ext>
            </a:extLst>
          </p:cNvPr>
          <p:cNvSpPr txBox="1"/>
          <p:nvPr/>
        </p:nvSpPr>
        <p:spPr>
          <a:xfrm>
            <a:off x="6732506" y="1309189"/>
            <a:ext cx="47010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KEY CONSIDERATIONS:</a:t>
            </a:r>
          </a:p>
        </p:txBody>
      </p:sp>
      <p:cxnSp>
        <p:nvCxnSpPr>
          <p:cNvPr id="18" name="直接连接符 2">
            <a:extLst>
              <a:ext uri="{FF2B5EF4-FFF2-40B4-BE49-F238E27FC236}">
                <a16:creationId xmlns:a16="http://schemas.microsoft.com/office/drawing/2014/main" id="{76AB4397-B811-8167-0A7E-AC9AFD5A6A7F}"/>
              </a:ext>
            </a:extLst>
          </p:cNvPr>
          <p:cNvCxnSpPr>
            <a:cxnSpLocks/>
          </p:cNvCxnSpPr>
          <p:nvPr/>
        </p:nvCxnSpPr>
        <p:spPr>
          <a:xfrm>
            <a:off x="6797204" y="1745641"/>
            <a:ext cx="4383314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EE97E33A-A980-F30D-E260-4137E35A3AB6}"/>
              </a:ext>
            </a:extLst>
          </p:cNvPr>
          <p:cNvSpPr txBox="1"/>
          <p:nvPr/>
        </p:nvSpPr>
        <p:spPr>
          <a:xfrm>
            <a:off x="6795568" y="1915508"/>
            <a:ext cx="5006341" cy="30315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1300">
                <a:latin typeface="Arial"/>
                <a:cs typeface="Arial"/>
              </a:rPr>
              <a:t>Achieving and maintaining </a:t>
            </a:r>
            <a:r>
              <a:rPr lang="en-GB" sz="1300" err="1">
                <a:latin typeface="Arial"/>
                <a:cs typeface="Arial"/>
              </a:rPr>
              <a:t>Superhost</a:t>
            </a:r>
            <a:r>
              <a:rPr lang="en-GB" sz="1300">
                <a:latin typeface="Arial"/>
                <a:cs typeface="Arial"/>
              </a:rPr>
              <a:t> status on Airbnb significantly</a:t>
            </a:r>
            <a:endParaRPr lang="ru-RU"/>
          </a:p>
          <a:p>
            <a:r>
              <a:rPr lang="en-GB" sz="1300">
                <a:latin typeface="Arial"/>
                <a:cs typeface="Arial"/>
              </a:rPr>
              <a:t>enhances a host's performance metrics:</a:t>
            </a:r>
            <a:endParaRPr lang="en-GB"/>
          </a:p>
          <a:p>
            <a:endParaRPr lang="en-GB" sz="13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300" b="1">
                <a:latin typeface="Arial"/>
                <a:cs typeface="Arial"/>
              </a:rPr>
              <a:t>Increased Earnings</a:t>
            </a:r>
            <a:r>
              <a:rPr lang="en-GB" sz="1300">
                <a:latin typeface="Arial"/>
                <a:cs typeface="Arial"/>
              </a:rPr>
              <a:t>: </a:t>
            </a:r>
            <a:r>
              <a:rPr lang="en-GB" sz="1300" err="1">
                <a:latin typeface="Arial"/>
                <a:cs typeface="Arial"/>
              </a:rPr>
              <a:t>Superhosts</a:t>
            </a:r>
            <a:r>
              <a:rPr lang="en-GB" sz="1300">
                <a:latin typeface="Arial"/>
                <a:cs typeface="Arial"/>
              </a:rPr>
              <a:t> earn, on average, 64% more in</a:t>
            </a:r>
          </a:p>
          <a:p>
            <a:pPr>
              <a:spcAft>
                <a:spcPts val="600"/>
              </a:spcAft>
            </a:pPr>
            <a:r>
              <a:rPr lang="en-GB" sz="1300">
                <a:latin typeface="Arial"/>
                <a:cs typeface="Arial"/>
              </a:rPr>
              <a:t> booking revenue compared to non-</a:t>
            </a:r>
            <a:r>
              <a:rPr lang="en-GB" sz="1300" err="1">
                <a:latin typeface="Arial"/>
                <a:cs typeface="Arial"/>
              </a:rPr>
              <a:t>Superhosts</a:t>
            </a:r>
            <a:endParaRPr lang="en-GB" sz="1300">
              <a:latin typeface="Arial"/>
              <a:cs typeface="Arial"/>
            </a:endParaRPr>
          </a:p>
          <a:p>
            <a:pPr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300" b="1">
                <a:latin typeface="Arial"/>
                <a:cs typeface="Arial"/>
              </a:rPr>
              <a:t>Higher Guest Satisfaction</a:t>
            </a:r>
            <a:r>
              <a:rPr lang="en-GB" sz="1300">
                <a:latin typeface="Arial"/>
                <a:cs typeface="Arial"/>
              </a:rPr>
              <a:t>: </a:t>
            </a:r>
            <a:r>
              <a:rPr lang="en-GB" sz="1300" err="1">
                <a:latin typeface="Arial"/>
                <a:cs typeface="Arial"/>
              </a:rPr>
              <a:t>Superhosts</a:t>
            </a:r>
            <a:r>
              <a:rPr lang="en-GB" sz="1300">
                <a:latin typeface="Arial"/>
                <a:cs typeface="Arial"/>
              </a:rPr>
              <a:t> maintain an average </a:t>
            </a:r>
          </a:p>
          <a:p>
            <a:pPr>
              <a:spcAft>
                <a:spcPts val="600"/>
              </a:spcAft>
            </a:pPr>
            <a:r>
              <a:rPr lang="en-GB" sz="1300">
                <a:latin typeface="Arial"/>
                <a:cs typeface="Arial"/>
              </a:rPr>
              <a:t>rating of 4.8 or higher, reflecting consistent guest satisfaction</a:t>
            </a:r>
          </a:p>
          <a:p>
            <a:pPr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300" b="1">
                <a:latin typeface="Arial"/>
                <a:cs typeface="Arial"/>
              </a:rPr>
              <a:t>Enhanced Visibility</a:t>
            </a:r>
            <a:r>
              <a:rPr lang="en-GB" sz="1300">
                <a:latin typeface="Arial"/>
                <a:cs typeface="Arial"/>
              </a:rPr>
              <a:t>: </a:t>
            </a:r>
            <a:r>
              <a:rPr lang="en-GB" sz="1300" err="1">
                <a:latin typeface="Arial"/>
                <a:cs typeface="Arial"/>
              </a:rPr>
              <a:t>Superhosts</a:t>
            </a:r>
            <a:r>
              <a:rPr lang="en-GB" sz="1300">
                <a:latin typeface="Arial"/>
                <a:cs typeface="Arial"/>
              </a:rPr>
              <a:t> experience an 11% increase in</a:t>
            </a:r>
          </a:p>
          <a:p>
            <a:pPr>
              <a:spcAft>
                <a:spcPts val="600"/>
              </a:spcAft>
            </a:pPr>
            <a:r>
              <a:rPr lang="en-GB" sz="1300">
                <a:latin typeface="Arial"/>
                <a:cs typeface="Arial"/>
              </a:rPr>
              <a:t> overall impressions, indicating improved visibility</a:t>
            </a:r>
            <a:endParaRPr lang="en-GB" sz="1300"/>
          </a:p>
          <a:p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BCD1ED3-D08A-ED21-60ED-41F8BC51EBF1}"/>
              </a:ext>
            </a:extLst>
          </p:cNvPr>
          <p:cNvSpPr txBox="1"/>
          <p:nvPr/>
        </p:nvSpPr>
        <p:spPr>
          <a:xfrm>
            <a:off x="6795568" y="4314627"/>
            <a:ext cx="47010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STRATEGIC TAKEAWAY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863DBB1-FD9C-DA99-5D23-A78C218EC13C}"/>
              </a:ext>
            </a:extLst>
          </p:cNvPr>
          <p:cNvSpPr txBox="1"/>
          <p:nvPr/>
        </p:nvSpPr>
        <p:spPr>
          <a:xfrm>
            <a:off x="6795569" y="4316652"/>
            <a:ext cx="7854644" cy="246221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n-GB" sz="1200" b="1">
              <a:latin typeface="Arial"/>
              <a:cs typeface="Arial"/>
            </a:endParaRPr>
          </a:p>
          <a:p>
            <a:r>
              <a:rPr lang="en-GB" sz="1300" b="1">
                <a:latin typeface="Arial"/>
                <a:cs typeface="Arial"/>
              </a:rPr>
              <a:t>Underserved Areas:</a:t>
            </a:r>
          </a:p>
          <a:p>
            <a:pPr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300">
                <a:latin typeface="Arial"/>
                <a:cs typeface="Arial"/>
              </a:rPr>
              <a:t>Regions with </a:t>
            </a:r>
            <a:r>
              <a:rPr lang="en-GB" sz="1300" b="1">
                <a:latin typeface="Arial"/>
                <a:cs typeface="Arial"/>
              </a:rPr>
              <a:t>low </a:t>
            </a:r>
            <a:r>
              <a:rPr lang="en-GB" sz="1300" b="1" err="1">
                <a:latin typeface="Arial"/>
                <a:cs typeface="Arial"/>
              </a:rPr>
              <a:t>Superhost</a:t>
            </a:r>
            <a:r>
              <a:rPr lang="en-GB" sz="1300" b="1">
                <a:latin typeface="Arial"/>
                <a:cs typeface="Arial"/>
              </a:rPr>
              <a:t> density</a:t>
            </a:r>
            <a:r>
              <a:rPr lang="en-GB" sz="1300">
                <a:latin typeface="Arial"/>
                <a:cs typeface="Arial"/>
              </a:rPr>
              <a:t>, as seen in lighter-</a:t>
            </a:r>
            <a:r>
              <a:rPr lang="en-GB" sz="1300" err="1">
                <a:latin typeface="Arial"/>
                <a:cs typeface="Arial"/>
              </a:rPr>
              <a:t>colored</a:t>
            </a:r>
            <a:endParaRPr lang="en-GB" sz="1300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GB" sz="1300">
                <a:latin typeface="Arial"/>
                <a:cs typeface="Arial"/>
              </a:rPr>
              <a:t> </a:t>
            </a:r>
            <a:r>
              <a:rPr lang="en-GB" sz="1300" err="1">
                <a:latin typeface="Arial"/>
                <a:cs typeface="Arial"/>
              </a:rPr>
              <a:t>neighborhoods</a:t>
            </a:r>
            <a:r>
              <a:rPr lang="en-GB" sz="1300">
                <a:latin typeface="Arial"/>
                <a:cs typeface="Arial"/>
              </a:rPr>
              <a:t> on the map, may provide opportunities for new hosts</a:t>
            </a:r>
          </a:p>
          <a:p>
            <a:pPr>
              <a:spcAft>
                <a:spcPts val="600"/>
              </a:spcAft>
            </a:pPr>
            <a:r>
              <a:rPr lang="en-GB" sz="1300">
                <a:latin typeface="Arial"/>
                <a:cs typeface="Arial"/>
              </a:rPr>
              <a:t> to </a:t>
            </a:r>
            <a:r>
              <a:rPr lang="en-GB" sz="1300" b="1">
                <a:latin typeface="Arial"/>
                <a:cs typeface="Arial"/>
              </a:rPr>
              <a:t>stand out</a:t>
            </a:r>
            <a:r>
              <a:rPr lang="en-GB" sz="1300">
                <a:latin typeface="Arial"/>
                <a:cs typeface="Arial"/>
              </a:rPr>
              <a:t> and capture unmet demand.</a:t>
            </a:r>
          </a:p>
          <a:p>
            <a:pPr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300">
                <a:latin typeface="Arial"/>
                <a:cs typeface="Arial"/>
              </a:rPr>
              <a:t>Success in these areas still hinges on delivering quality service</a:t>
            </a:r>
          </a:p>
          <a:p>
            <a:pPr>
              <a:spcAft>
                <a:spcPts val="600"/>
              </a:spcAft>
            </a:pPr>
            <a:r>
              <a:rPr lang="en-GB" sz="1300">
                <a:latin typeface="Arial"/>
                <a:cs typeface="Arial"/>
              </a:rPr>
              <a:t> to achieve </a:t>
            </a:r>
            <a:r>
              <a:rPr lang="en-GB" sz="1300" err="1">
                <a:latin typeface="Arial"/>
                <a:cs typeface="Arial"/>
              </a:rPr>
              <a:t>Superhost</a:t>
            </a:r>
            <a:r>
              <a:rPr lang="en-GB" sz="1300">
                <a:latin typeface="Arial"/>
                <a:cs typeface="Arial"/>
              </a:rPr>
              <a:t> status.</a:t>
            </a:r>
          </a:p>
          <a:p>
            <a:r>
              <a:rPr lang="en-GB" sz="1300" b="1" err="1">
                <a:latin typeface="Arial"/>
                <a:cs typeface="Arial"/>
              </a:rPr>
              <a:t>Superhost</a:t>
            </a:r>
            <a:r>
              <a:rPr lang="en-GB" sz="1300" b="1">
                <a:latin typeface="Arial"/>
                <a:cs typeface="Arial"/>
              </a:rPr>
              <a:t> Goals</a:t>
            </a:r>
            <a:r>
              <a:rPr lang="en-GB" sz="1300">
                <a:latin typeface="Arial"/>
                <a:cs typeface="Arial"/>
              </a:rPr>
              <a:t>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>
                <a:latin typeface="Arial"/>
                <a:cs typeface="Arial"/>
              </a:rPr>
              <a:t>Prioritize meeting </a:t>
            </a:r>
            <a:r>
              <a:rPr lang="en-GB" sz="1300" err="1">
                <a:latin typeface="Arial"/>
                <a:cs typeface="Arial"/>
              </a:rPr>
              <a:t>Superhost</a:t>
            </a:r>
            <a:r>
              <a:rPr lang="en-GB" sz="1300">
                <a:latin typeface="Arial"/>
                <a:cs typeface="Arial"/>
              </a:rPr>
              <a:t> criteria: high ratings, low cancellation</a:t>
            </a:r>
            <a:endParaRPr lang="en-GB" sz="1300">
              <a:latin typeface="Aptos" panose="02110004020202020204"/>
              <a:cs typeface="Arial"/>
            </a:endParaRPr>
          </a:p>
          <a:p>
            <a:r>
              <a:rPr lang="en-GB" sz="1300">
                <a:latin typeface="Arial"/>
                <a:cs typeface="Arial"/>
              </a:rPr>
              <a:t> rates, and responsiveness</a:t>
            </a:r>
            <a:endParaRPr lang="en-GB" sz="1300"/>
          </a:p>
        </p:txBody>
      </p:sp>
    </p:spTree>
    <p:extLst>
      <p:ext uri="{BB962C8B-B14F-4D97-AF65-F5344CB8AC3E}">
        <p14:creationId xmlns:p14="http://schemas.microsoft.com/office/powerpoint/2010/main" val="17593976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D881B870A061A47B7791F03E27C6FA5" ma:contentTypeVersion="7" ma:contentTypeDescription="Create a new document." ma:contentTypeScope="" ma:versionID="7a5f389b975213a03b7dfb234e394dd9">
  <xsd:schema xmlns:xsd="http://www.w3.org/2001/XMLSchema" xmlns:xs="http://www.w3.org/2001/XMLSchema" xmlns:p="http://schemas.microsoft.com/office/2006/metadata/properties" xmlns:ns1="http://schemas.microsoft.com/sharepoint/v3" xmlns:ns3="8a931132-65d2-4107-9798-0dcff7177c86" targetNamespace="http://schemas.microsoft.com/office/2006/metadata/properties" ma:root="true" ma:fieldsID="69da4b7c8cec49649190c9555b28d551" ns1:_="" ns3:_="">
    <xsd:import namespace="http://schemas.microsoft.com/sharepoint/v3"/>
    <xsd:import namespace="8a931132-65d2-4107-9798-0dcff7177c86"/>
    <xsd:element name="properties">
      <xsd:complexType>
        <xsd:sequence>
          <xsd:element name="documentManagement">
            <xsd:complexType>
              <xsd:all>
                <xsd:element ref="ns3:MediaServiceDateTaken" minOccurs="0"/>
                <xsd:element ref="ns1:_ip_UnifiedCompliancePolicyProperties" minOccurs="0"/>
                <xsd:element ref="ns1:_ip_UnifiedCompliancePolicyUIAction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9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0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931132-65d2-4107-9798-0dcff7177c86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BD20030-1F99-459A-8991-891C34372746}">
  <ds:schemaRefs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http://purl.org/dc/dcmitype/"/>
    <ds:schemaRef ds:uri="http://purl.org/dc/elements/1.1/"/>
    <ds:schemaRef ds:uri="8a931132-65d2-4107-9798-0dcff7177c86"/>
    <ds:schemaRef ds:uri="http://schemas.microsoft.com/sharepoint/v3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68289007-7EC6-4586-84F1-7EE6A21CA0A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a931132-65d2-4107-9798-0dcff7177c8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C08DC0E-ECFC-4436-94E0-5FE720BE97B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29</TotalTime>
  <Words>1576</Words>
  <Application>Microsoft Office PowerPoint</Application>
  <PresentationFormat>Widescreen</PresentationFormat>
  <Paragraphs>164</Paragraphs>
  <Slides>1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Aptos</vt:lpstr>
      <vt:lpstr>Aptos Display</vt:lpstr>
      <vt:lpstr>Arial</vt:lpstr>
      <vt:lpstr>Comic Sans MS</vt:lpstr>
      <vt:lpstr>Consolas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"Location, Location, Location": The Role of Neighbourhoods</vt:lpstr>
      <vt:lpstr>PowerPoint Presentation</vt:lpstr>
      <vt:lpstr>PowerPoint Presentation</vt:lpstr>
      <vt:lpstr>"Host with the Most": The Impact of Host Behaviour</vt:lpstr>
      <vt:lpstr>PowerPoint Presentation</vt:lpstr>
      <vt:lpstr>"Host with the Most": The Impact of Host Behaviour</vt:lpstr>
      <vt:lpstr>"The Price is Right": Balancing Affordability and Quality</vt:lpstr>
      <vt:lpstr>Does the absence of reviews affect price significantly?</vt:lpstr>
      <vt:lpstr>Model Performance Comparison for Airbnb Price Prediction</vt:lpstr>
      <vt:lpstr>Relationships Between Key Variables </vt:lpstr>
      <vt:lpstr>Key Insights and Takeaways</vt:lpstr>
      <vt:lpstr>Host Recommenda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Riccardo Grossi</dc:creator>
  <cp:lastModifiedBy>Zijun_Zhou</cp:lastModifiedBy>
  <cp:revision>171</cp:revision>
  <dcterms:created xsi:type="dcterms:W3CDTF">2024-11-14T16:21:01Z</dcterms:created>
  <dcterms:modified xsi:type="dcterms:W3CDTF">2024-11-19T14:43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881B870A061A47B7791F03E27C6FA5</vt:lpwstr>
  </property>
</Properties>
</file>